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57</c:v>
                </c:pt>
                <c:pt idx="1">
                  <c:v>8439</c:v>
                </c:pt>
                <c:pt idx="2">
                  <c:v>8384</c:v>
                </c:pt>
                <c:pt idx="3">
                  <c:v>8389</c:v>
                </c:pt>
                <c:pt idx="4">
                  <c:v>8453</c:v>
                </c:pt>
                <c:pt idx="5">
                  <c:v>8109</c:v>
                </c:pt>
                <c:pt idx="6">
                  <c:v>8333</c:v>
                </c:pt>
                <c:pt idx="7">
                  <c:v>9008</c:v>
                </c:pt>
                <c:pt idx="8">
                  <c:v>8983</c:v>
                </c:pt>
                <c:pt idx="9">
                  <c:v>9004</c:v>
                </c:pt>
                <c:pt idx="10">
                  <c:v>8966</c:v>
                </c:pt>
                <c:pt idx="11">
                  <c:v>8934</c:v>
                </c:pt>
                <c:pt idx="12">
                  <c:v>8533</c:v>
                </c:pt>
                <c:pt idx="13">
                  <c:v>8747</c:v>
                </c:pt>
                <c:pt idx="14">
                  <c:v>9463</c:v>
                </c:pt>
                <c:pt idx="15">
                  <c:v>9331</c:v>
                </c:pt>
                <c:pt idx="16">
                  <c:v>9162</c:v>
                </c:pt>
                <c:pt idx="17">
                  <c:v>8958</c:v>
                </c:pt>
                <c:pt idx="18">
                  <c:v>8768</c:v>
                </c:pt>
                <c:pt idx="19">
                  <c:v>8209</c:v>
                </c:pt>
                <c:pt idx="20">
                  <c:v>8323</c:v>
                </c:pt>
                <c:pt idx="21">
                  <c:v>8959</c:v>
                </c:pt>
                <c:pt idx="22">
                  <c:v>8627</c:v>
                </c:pt>
                <c:pt idx="23">
                  <c:v>8312</c:v>
                </c:pt>
                <c:pt idx="24">
                  <c:v>8157</c:v>
                </c:pt>
                <c:pt idx="25">
                  <c:v>8032</c:v>
                </c:pt>
                <c:pt idx="26">
                  <c:v>7510</c:v>
                </c:pt>
                <c:pt idx="27">
                  <c:v>7560</c:v>
                </c:pt>
                <c:pt idx="28">
                  <c:v>8099</c:v>
                </c:pt>
                <c:pt idx="29">
                  <c:v>7831</c:v>
                </c:pt>
                <c:pt idx="30">
                  <c:v>7511</c:v>
                </c:pt>
                <c:pt idx="31">
                  <c:v>7207</c:v>
                </c:pt>
                <c:pt idx="32">
                  <c:v>6381</c:v>
                </c:pt>
                <c:pt idx="33">
                  <c:v>6230</c:v>
                </c:pt>
                <c:pt idx="34">
                  <c:v>6327</c:v>
                </c:pt>
                <c:pt idx="35">
                  <c:v>6399</c:v>
                </c:pt>
                <c:pt idx="36">
                  <c:v>7078</c:v>
                </c:pt>
                <c:pt idx="37">
                  <c:v>6722</c:v>
                </c:pt>
                <c:pt idx="38">
                  <c:v>6249</c:v>
                </c:pt>
                <c:pt idx="39">
                  <c:v>5934</c:v>
                </c:pt>
                <c:pt idx="40">
                  <c:v>5296</c:v>
                </c:pt>
                <c:pt idx="41">
                  <c:v>5251</c:v>
                </c:pt>
                <c:pt idx="42">
                  <c:v>5547</c:v>
                </c:pt>
                <c:pt idx="43">
                  <c:v>5240</c:v>
                </c:pt>
                <c:pt idx="44">
                  <c:v>4945</c:v>
                </c:pt>
                <c:pt idx="45">
                  <c:v>4685</c:v>
                </c:pt>
                <c:pt idx="46">
                  <c:v>4443</c:v>
                </c:pt>
                <c:pt idx="47">
                  <c:v>4038</c:v>
                </c:pt>
                <c:pt idx="48">
                  <c:v>4053</c:v>
                </c:pt>
                <c:pt idx="49">
                  <c:v>4330</c:v>
                </c:pt>
                <c:pt idx="50">
                  <c:v>4151</c:v>
                </c:pt>
                <c:pt idx="51">
                  <c:v>3965</c:v>
                </c:pt>
                <c:pt idx="52">
                  <c:v>3769</c:v>
                </c:pt>
                <c:pt idx="53">
                  <c:v>351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390.8405106684831</c:v>
                </c:pt>
                <c:pt idx="32">
                  <c:v>7292.9206111068142</c:v>
                </c:pt>
                <c:pt idx="33">
                  <c:v>7212.586274610263</c:v>
                </c:pt>
                <c:pt idx="34">
                  <c:v>7150.7656608634506</c:v>
                </c:pt>
                <c:pt idx="35">
                  <c:v>7110.1827369558805</c:v>
                </c:pt>
                <c:pt idx="36">
                  <c:v>7092.6689415448764</c:v>
                </c:pt>
                <c:pt idx="37">
                  <c:v>7103.5296455415337</c:v>
                </c:pt>
                <c:pt idx="38">
                  <c:v>7140.6591694920244</c:v>
                </c:pt>
                <c:pt idx="39">
                  <c:v>7192.3245011598065</c:v>
                </c:pt>
                <c:pt idx="40">
                  <c:v>7256.6139937886164</c:v>
                </c:pt>
                <c:pt idx="41">
                  <c:v>7334.2976558323753</c:v>
                </c:pt>
                <c:pt idx="42">
                  <c:v>7423.9805344003034</c:v>
                </c:pt>
                <c:pt idx="43">
                  <c:v>7523.4501578392828</c:v>
                </c:pt>
                <c:pt idx="44">
                  <c:v>7632.306370940757</c:v>
                </c:pt>
                <c:pt idx="45">
                  <c:v>7748.7874390403094</c:v>
                </c:pt>
                <c:pt idx="46">
                  <c:v>7871.5957902364598</c:v>
                </c:pt>
                <c:pt idx="47">
                  <c:v>8000.7983237667449</c:v>
                </c:pt>
                <c:pt idx="48">
                  <c:v>8136.4040825130787</c:v>
                </c:pt>
                <c:pt idx="49">
                  <c:v>8276.6451380841281</c:v>
                </c:pt>
                <c:pt idx="50">
                  <c:v>8420.8796216332121</c:v>
                </c:pt>
                <c:pt idx="51">
                  <c:v>8569.4106328125363</c:v>
                </c:pt>
                <c:pt idx="52">
                  <c:v>8721.6022946126977</c:v>
                </c:pt>
                <c:pt idx="53">
                  <c:v>8877.6986147225616</c:v>
                </c:pt>
                <c:pt idx="54">
                  <c:v>9037.7175350169273</c:v>
                </c:pt>
                <c:pt idx="55">
                  <c:v>9202.1438777325966</c:v>
                </c:pt>
                <c:pt idx="56">
                  <c:v>9370.0551532421468</c:v>
                </c:pt>
                <c:pt idx="57">
                  <c:v>9541.2981286858485</c:v>
                </c:pt>
                <c:pt idx="58">
                  <c:v>9715.6689119056027</c:v>
                </c:pt>
                <c:pt idx="59">
                  <c:v>9893.2035433817109</c:v>
                </c:pt>
                <c:pt idx="60">
                  <c:v>10074.4492543685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9</c:v>
                </c:pt>
                <c:pt idx="1">
                  <c:v>8159</c:v>
                </c:pt>
                <c:pt idx="2">
                  <c:v>8159</c:v>
                </c:pt>
                <c:pt idx="3">
                  <c:v>8159</c:v>
                </c:pt>
                <c:pt idx="4">
                  <c:v>8159</c:v>
                </c:pt>
                <c:pt idx="5">
                  <c:v>8159</c:v>
                </c:pt>
                <c:pt idx="6">
                  <c:v>8159</c:v>
                </c:pt>
                <c:pt idx="7">
                  <c:v>8159</c:v>
                </c:pt>
                <c:pt idx="8">
                  <c:v>8159</c:v>
                </c:pt>
                <c:pt idx="9">
                  <c:v>8159</c:v>
                </c:pt>
                <c:pt idx="10">
                  <c:v>8159</c:v>
                </c:pt>
                <c:pt idx="11">
                  <c:v>8159</c:v>
                </c:pt>
                <c:pt idx="12">
                  <c:v>8159</c:v>
                </c:pt>
                <c:pt idx="13">
                  <c:v>8159</c:v>
                </c:pt>
                <c:pt idx="14">
                  <c:v>8159</c:v>
                </c:pt>
                <c:pt idx="15">
                  <c:v>8159</c:v>
                </c:pt>
                <c:pt idx="16">
                  <c:v>8159</c:v>
                </c:pt>
                <c:pt idx="17">
                  <c:v>8159</c:v>
                </c:pt>
                <c:pt idx="18">
                  <c:v>8159</c:v>
                </c:pt>
                <c:pt idx="19">
                  <c:v>8159</c:v>
                </c:pt>
                <c:pt idx="20">
                  <c:v>8159</c:v>
                </c:pt>
                <c:pt idx="21">
                  <c:v>8159</c:v>
                </c:pt>
                <c:pt idx="22">
                  <c:v>8159</c:v>
                </c:pt>
                <c:pt idx="23">
                  <c:v>8159</c:v>
                </c:pt>
                <c:pt idx="24">
                  <c:v>8159</c:v>
                </c:pt>
                <c:pt idx="25">
                  <c:v>8159</c:v>
                </c:pt>
                <c:pt idx="26">
                  <c:v>8159</c:v>
                </c:pt>
                <c:pt idx="27">
                  <c:v>8159</c:v>
                </c:pt>
                <c:pt idx="28">
                  <c:v>8159</c:v>
                </c:pt>
                <c:pt idx="29">
                  <c:v>8159</c:v>
                </c:pt>
                <c:pt idx="30">
                  <c:v>8159</c:v>
                </c:pt>
                <c:pt idx="31">
                  <c:v>8159</c:v>
                </c:pt>
                <c:pt idx="32">
                  <c:v>8159</c:v>
                </c:pt>
                <c:pt idx="33">
                  <c:v>8159</c:v>
                </c:pt>
                <c:pt idx="34">
                  <c:v>8159</c:v>
                </c:pt>
                <c:pt idx="35">
                  <c:v>8159</c:v>
                </c:pt>
                <c:pt idx="36">
                  <c:v>8159</c:v>
                </c:pt>
                <c:pt idx="37">
                  <c:v>8159</c:v>
                </c:pt>
                <c:pt idx="38">
                  <c:v>8159</c:v>
                </c:pt>
                <c:pt idx="39">
                  <c:v>8159</c:v>
                </c:pt>
                <c:pt idx="40">
                  <c:v>8159</c:v>
                </c:pt>
                <c:pt idx="41">
                  <c:v>8159</c:v>
                </c:pt>
                <c:pt idx="42">
                  <c:v>8159</c:v>
                </c:pt>
                <c:pt idx="43">
                  <c:v>8159</c:v>
                </c:pt>
                <c:pt idx="44">
                  <c:v>8159</c:v>
                </c:pt>
                <c:pt idx="45">
                  <c:v>8159</c:v>
                </c:pt>
                <c:pt idx="46">
                  <c:v>8159</c:v>
                </c:pt>
                <c:pt idx="47">
                  <c:v>8159</c:v>
                </c:pt>
                <c:pt idx="48">
                  <c:v>8159</c:v>
                </c:pt>
                <c:pt idx="49">
                  <c:v>8159</c:v>
                </c:pt>
                <c:pt idx="50">
                  <c:v>8159</c:v>
                </c:pt>
                <c:pt idx="51">
                  <c:v>8159</c:v>
                </c:pt>
                <c:pt idx="52">
                  <c:v>8159</c:v>
                </c:pt>
                <c:pt idx="53">
                  <c:v>8159</c:v>
                </c:pt>
                <c:pt idx="54">
                  <c:v>8159</c:v>
                </c:pt>
                <c:pt idx="55">
                  <c:v>8159</c:v>
                </c:pt>
                <c:pt idx="56">
                  <c:v>8159</c:v>
                </c:pt>
                <c:pt idx="57">
                  <c:v>8159</c:v>
                </c:pt>
                <c:pt idx="58">
                  <c:v>8159</c:v>
                </c:pt>
                <c:pt idx="59">
                  <c:v>8159</c:v>
                </c:pt>
                <c:pt idx="60">
                  <c:v>8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31</c:v>
                </c:pt>
                <c:pt idx="1">
                  <c:v>540</c:v>
                </c:pt>
                <c:pt idx="2">
                  <c:v>551</c:v>
                </c:pt>
                <c:pt idx="3">
                  <c:v>540</c:v>
                </c:pt>
                <c:pt idx="4">
                  <c:v>532</c:v>
                </c:pt>
                <c:pt idx="5">
                  <c:v>507</c:v>
                </c:pt>
                <c:pt idx="6">
                  <c:v>516</c:v>
                </c:pt>
                <c:pt idx="7">
                  <c:v>566</c:v>
                </c:pt>
                <c:pt idx="8">
                  <c:v>564</c:v>
                </c:pt>
                <c:pt idx="9">
                  <c:v>564</c:v>
                </c:pt>
                <c:pt idx="10">
                  <c:v>581</c:v>
                </c:pt>
                <c:pt idx="11">
                  <c:v>569</c:v>
                </c:pt>
                <c:pt idx="12">
                  <c:v>546</c:v>
                </c:pt>
                <c:pt idx="13">
                  <c:v>554</c:v>
                </c:pt>
                <c:pt idx="14">
                  <c:v>587</c:v>
                </c:pt>
                <c:pt idx="15">
                  <c:v>582</c:v>
                </c:pt>
                <c:pt idx="16">
                  <c:v>537</c:v>
                </c:pt>
                <c:pt idx="17">
                  <c:v>539</c:v>
                </c:pt>
                <c:pt idx="18">
                  <c:v>533</c:v>
                </c:pt>
                <c:pt idx="19">
                  <c:v>482</c:v>
                </c:pt>
                <c:pt idx="20">
                  <c:v>504</c:v>
                </c:pt>
                <c:pt idx="21">
                  <c:v>519</c:v>
                </c:pt>
                <c:pt idx="22">
                  <c:v>522</c:v>
                </c:pt>
                <c:pt idx="23">
                  <c:v>514</c:v>
                </c:pt>
                <c:pt idx="24">
                  <c:v>523</c:v>
                </c:pt>
                <c:pt idx="25">
                  <c:v>492</c:v>
                </c:pt>
                <c:pt idx="26">
                  <c:v>455</c:v>
                </c:pt>
                <c:pt idx="27">
                  <c:v>472</c:v>
                </c:pt>
                <c:pt idx="28">
                  <c:v>487</c:v>
                </c:pt>
                <c:pt idx="29">
                  <c:v>477</c:v>
                </c:pt>
                <c:pt idx="30">
                  <c:v>458</c:v>
                </c:pt>
                <c:pt idx="31">
                  <c:v>426</c:v>
                </c:pt>
                <c:pt idx="32">
                  <c:v>362</c:v>
                </c:pt>
                <c:pt idx="33">
                  <c:v>379</c:v>
                </c:pt>
                <c:pt idx="34">
                  <c:v>373</c:v>
                </c:pt>
                <c:pt idx="35">
                  <c:v>372</c:v>
                </c:pt>
                <c:pt idx="36">
                  <c:v>385</c:v>
                </c:pt>
                <c:pt idx="37">
                  <c:v>384</c:v>
                </c:pt>
                <c:pt idx="38">
                  <c:v>360</c:v>
                </c:pt>
                <c:pt idx="39">
                  <c:v>347</c:v>
                </c:pt>
                <c:pt idx="40">
                  <c:v>307</c:v>
                </c:pt>
                <c:pt idx="41">
                  <c:v>299</c:v>
                </c:pt>
                <c:pt idx="42">
                  <c:v>309</c:v>
                </c:pt>
                <c:pt idx="43">
                  <c:v>293</c:v>
                </c:pt>
                <c:pt idx="44">
                  <c:v>281</c:v>
                </c:pt>
                <c:pt idx="45">
                  <c:v>271</c:v>
                </c:pt>
                <c:pt idx="46">
                  <c:v>261</c:v>
                </c:pt>
                <c:pt idx="47">
                  <c:v>224</c:v>
                </c:pt>
                <c:pt idx="48">
                  <c:v>220</c:v>
                </c:pt>
                <c:pt idx="49">
                  <c:v>226</c:v>
                </c:pt>
                <c:pt idx="50">
                  <c:v>205</c:v>
                </c:pt>
                <c:pt idx="51">
                  <c:v>193</c:v>
                </c:pt>
                <c:pt idx="52">
                  <c:v>176</c:v>
                </c:pt>
                <c:pt idx="53">
                  <c:v>16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48.44866573170316</c:v>
                </c:pt>
                <c:pt idx="32">
                  <c:v>437.7847112961274</c:v>
                </c:pt>
                <c:pt idx="33">
                  <c:v>426.88344645299458</c:v>
                </c:pt>
                <c:pt idx="34">
                  <c:v>416.31490032718045</c:v>
                </c:pt>
                <c:pt idx="35">
                  <c:v>405.90555451686805</c:v>
                </c:pt>
                <c:pt idx="36">
                  <c:v>395.45177928358089</c:v>
                </c:pt>
                <c:pt idx="37">
                  <c:v>385.10737337025938</c:v>
                </c:pt>
                <c:pt idx="38">
                  <c:v>374.67747490180045</c:v>
                </c:pt>
                <c:pt idx="39">
                  <c:v>363.99643620191364</c:v>
                </c:pt>
                <c:pt idx="40">
                  <c:v>353.23236365748602</c:v>
                </c:pt>
                <c:pt idx="41">
                  <c:v>342.48336560045914</c:v>
                </c:pt>
                <c:pt idx="42">
                  <c:v>331.58145368532712</c:v>
                </c:pt>
                <c:pt idx="43">
                  <c:v>320.46749434982451</c:v>
                </c:pt>
                <c:pt idx="44">
                  <c:v>309.28769707513794</c:v>
                </c:pt>
                <c:pt idx="45">
                  <c:v>298.12417730422931</c:v>
                </c:pt>
                <c:pt idx="46">
                  <c:v>287.07558342472294</c:v>
                </c:pt>
                <c:pt idx="47">
                  <c:v>276.18658456171488</c:v>
                </c:pt>
                <c:pt idx="48">
                  <c:v>265.45507746801525</c:v>
                </c:pt>
                <c:pt idx="49">
                  <c:v>254.79993315348361</c:v>
                </c:pt>
                <c:pt idx="50">
                  <c:v>244.27836060235055</c:v>
                </c:pt>
                <c:pt idx="51">
                  <c:v>234.00267397811933</c:v>
                </c:pt>
                <c:pt idx="52">
                  <c:v>223.99911676433425</c:v>
                </c:pt>
                <c:pt idx="53">
                  <c:v>214.30329794941903</c:v>
                </c:pt>
                <c:pt idx="54">
                  <c:v>204.90466381791163</c:v>
                </c:pt>
                <c:pt idx="55">
                  <c:v>195.83163030912439</c:v>
                </c:pt>
                <c:pt idx="56">
                  <c:v>187.05386970449919</c:v>
                </c:pt>
                <c:pt idx="57">
                  <c:v>178.5925507201184</c:v>
                </c:pt>
                <c:pt idx="58">
                  <c:v>170.44677159043928</c:v>
                </c:pt>
                <c:pt idx="59">
                  <c:v>162.60453377963648</c:v>
                </c:pt>
                <c:pt idx="60">
                  <c:v>155.08337507554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449.22639992960376</c:v>
                </c:pt>
                <c:pt idx="32">
                  <c:v>439.93965360714742</c:v>
                </c:pt>
                <c:pt idx="33">
                  <c:v>430.78846874653857</c:v>
                </c:pt>
                <c:pt idx="34">
                  <c:v>422.19471903412182</c:v>
                </c:pt>
                <c:pt idx="35">
                  <c:v>414.03188677684125</c:v>
                </c:pt>
                <c:pt idx="36">
                  <c:v>406.14786599961451</c:v>
                </c:pt>
                <c:pt idx="37">
                  <c:v>398.72424479816732</c:v>
                </c:pt>
                <c:pt idx="38">
                  <c:v>391.57273364249568</c:v>
                </c:pt>
                <c:pt idx="39">
                  <c:v>384.38627421651938</c:v>
                </c:pt>
                <c:pt idx="40">
                  <c:v>377.2478319737242</c:v>
                </c:pt>
                <c:pt idx="41">
                  <c:v>370.21339137006044</c:v>
                </c:pt>
                <c:pt idx="42">
                  <c:v>363.09711027986407</c:v>
                </c:pt>
                <c:pt idx="43">
                  <c:v>355.80103528206683</c:v>
                </c:pt>
                <c:pt idx="44">
                  <c:v>348.43256095158017</c:v>
                </c:pt>
                <c:pt idx="45">
                  <c:v>341.02738858983304</c:v>
                </c:pt>
                <c:pt idx="46">
                  <c:v>333.63200919324424</c:v>
                </c:pt>
                <c:pt idx="47">
                  <c:v>326.2698919991488</c:v>
                </c:pt>
                <c:pt idx="48">
                  <c:v>318.92616502611651</c:v>
                </c:pt>
                <c:pt idx="49">
                  <c:v>311.51002361769514</c:v>
                </c:pt>
                <c:pt idx="50">
                  <c:v>304.06476209721933</c:v>
                </c:pt>
                <c:pt idx="51">
                  <c:v>296.68218212118927</c:v>
                </c:pt>
                <c:pt idx="52">
                  <c:v>289.37517462100618</c:v>
                </c:pt>
                <c:pt idx="53">
                  <c:v>282.17048766115715</c:v>
                </c:pt>
                <c:pt idx="54">
                  <c:v>275.0615933222773</c:v>
                </c:pt>
                <c:pt idx="55">
                  <c:v>268.08312788296934</c:v>
                </c:pt>
                <c:pt idx="56">
                  <c:v>261.20494285092462</c:v>
                </c:pt>
                <c:pt idx="57">
                  <c:v>254.45052098327676</c:v>
                </c:pt>
                <c:pt idx="58">
                  <c:v>247.82304608271309</c:v>
                </c:pt>
                <c:pt idx="59">
                  <c:v>241.31516326207444</c:v>
                </c:pt>
                <c:pt idx="60">
                  <c:v>234.95288908015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50.00413412750447</c:v>
                </c:pt>
                <c:pt idx="32">
                  <c:v>442.09704162319224</c:v>
                </c:pt>
                <c:pt idx="33">
                  <c:v>434.70128278654238</c:v>
                </c:pt>
                <c:pt idx="34">
                  <c:v>428.08577585688835</c:v>
                </c:pt>
                <c:pt idx="35">
                  <c:v>422.21172715095315</c:v>
                </c:pt>
                <c:pt idx="36">
                  <c:v>417.00570548061705</c:v>
                </c:pt>
                <c:pt idx="37">
                  <c:v>412.69932961571271</c:v>
                </c:pt>
                <c:pt idx="38">
                  <c:v>409.12058360021325</c:v>
                </c:pt>
                <c:pt idx="39">
                  <c:v>405.81134113033085</c:v>
                </c:pt>
                <c:pt idx="40">
                  <c:v>402.76371584948254</c:v>
                </c:pt>
                <c:pt idx="41">
                  <c:v>400.01090610461171</c:v>
                </c:pt>
                <c:pt idx="42">
                  <c:v>397.37728412035881</c:v>
                </c:pt>
                <c:pt idx="43">
                  <c:v>394.744546440112</c:v>
                </c:pt>
                <c:pt idx="44">
                  <c:v>392.16786072489003</c:v>
                </c:pt>
                <c:pt idx="45">
                  <c:v>389.62831678536571</c:v>
                </c:pt>
                <c:pt idx="46">
                  <c:v>387.11909426123771</c:v>
                </c:pt>
                <c:pt idx="47">
                  <c:v>384.64195945083748</c:v>
                </c:pt>
                <c:pt idx="48">
                  <c:v>382.17608901006514</c:v>
                </c:pt>
                <c:pt idx="49">
                  <c:v>379.62150400632243</c:v>
                </c:pt>
                <c:pt idx="50">
                  <c:v>376.98948027072612</c:v>
                </c:pt>
                <c:pt idx="51">
                  <c:v>374.34421989748944</c:v>
                </c:pt>
                <c:pt idx="52">
                  <c:v>371.67984617858167</c:v>
                </c:pt>
                <c:pt idx="53">
                  <c:v>369.01116531702002</c:v>
                </c:pt>
                <c:pt idx="54">
                  <c:v>366.32867212777825</c:v>
                </c:pt>
                <c:pt idx="55">
                  <c:v>363.66359818193416</c:v>
                </c:pt>
                <c:pt idx="56">
                  <c:v>360.98060065710507</c:v>
                </c:pt>
                <c:pt idx="57">
                  <c:v>358.29336570590942</c:v>
                </c:pt>
                <c:pt idx="58">
                  <c:v>355.60112151344026</c:v>
                </c:pt>
                <c:pt idx="59">
                  <c:v>352.89441137722827</c:v>
                </c:pt>
                <c:pt idx="60">
                  <c:v>350.19942545026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51.17318112938034</c:v>
                </c:pt>
                <c:pt idx="32">
                  <c:v>445.33480113115752</c:v>
                </c:pt>
                <c:pt idx="33">
                  <c:v>440.5671540062732</c:v>
                </c:pt>
                <c:pt idx="34">
                  <c:v>436.91444330803699</c:v>
                </c:pt>
                <c:pt idx="35">
                  <c:v>434.54119658336947</c:v>
                </c:pt>
                <c:pt idx="36">
                  <c:v>433.55421907114237</c:v>
                </c:pt>
                <c:pt idx="37">
                  <c:v>434.29029886744365</c:v>
                </c:pt>
                <c:pt idx="38">
                  <c:v>436.62457036110823</c:v>
                </c:pt>
                <c:pt idx="39">
                  <c:v>439.83787394505021</c:v>
                </c:pt>
                <c:pt idx="40">
                  <c:v>443.81594028278596</c:v>
                </c:pt>
                <c:pt idx="41">
                  <c:v>448.60668875740322</c:v>
                </c:pt>
                <c:pt idx="42">
                  <c:v>454.1248590109364</c:v>
                </c:pt>
                <c:pt idx="43">
                  <c:v>460.23240483252471</c:v>
                </c:pt>
                <c:pt idx="44">
                  <c:v>466.91169351771578</c:v>
                </c:pt>
                <c:pt idx="45">
                  <c:v>474.05732187777937</c:v>
                </c:pt>
                <c:pt idx="46">
                  <c:v>481.58669323306742</c:v>
                </c:pt>
                <c:pt idx="47">
                  <c:v>489.5046469445407</c:v>
                </c:pt>
                <c:pt idx="48">
                  <c:v>497.8141436624004</c:v>
                </c:pt>
                <c:pt idx="49">
                  <c:v>506.40825202232179</c:v>
                </c:pt>
                <c:pt idx="50">
                  <c:v>515.24636438169853</c:v>
                </c:pt>
                <c:pt idx="51">
                  <c:v>524.34655898097685</c:v>
                </c:pt>
                <c:pt idx="52">
                  <c:v>533.67059456720483</c:v>
                </c:pt>
                <c:pt idx="53">
                  <c:v>543.23156008555088</c:v>
                </c:pt>
                <c:pt idx="54">
                  <c:v>553.0309247270402</c:v>
                </c:pt>
                <c:pt idx="55">
                  <c:v>563.09953056167137</c:v>
                </c:pt>
                <c:pt idx="56">
                  <c:v>573.38132484309665</c:v>
                </c:pt>
                <c:pt idx="57">
                  <c:v>583.8667306564073</c:v>
                </c:pt>
                <c:pt idx="58">
                  <c:v>594.54339554210867</c:v>
                </c:pt>
                <c:pt idx="59">
                  <c:v>605.41353737328677</c:v>
                </c:pt>
                <c:pt idx="60">
                  <c:v>616.51070709539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9</c:v>
                </c:pt>
                <c:pt idx="1">
                  <c:v>379</c:v>
                </c:pt>
                <c:pt idx="2">
                  <c:v>379</c:v>
                </c:pt>
                <c:pt idx="3">
                  <c:v>379</c:v>
                </c:pt>
                <c:pt idx="4">
                  <c:v>379</c:v>
                </c:pt>
                <c:pt idx="5">
                  <c:v>379</c:v>
                </c:pt>
                <c:pt idx="6">
                  <c:v>379</c:v>
                </c:pt>
                <c:pt idx="7">
                  <c:v>379</c:v>
                </c:pt>
                <c:pt idx="8">
                  <c:v>379</c:v>
                </c:pt>
                <c:pt idx="9">
                  <c:v>379</c:v>
                </c:pt>
                <c:pt idx="10">
                  <c:v>379</c:v>
                </c:pt>
                <c:pt idx="11">
                  <c:v>379</c:v>
                </c:pt>
                <c:pt idx="12">
                  <c:v>379</c:v>
                </c:pt>
                <c:pt idx="13">
                  <c:v>379</c:v>
                </c:pt>
                <c:pt idx="14">
                  <c:v>379</c:v>
                </c:pt>
                <c:pt idx="15">
                  <c:v>379</c:v>
                </c:pt>
                <c:pt idx="16">
                  <c:v>379</c:v>
                </c:pt>
                <c:pt idx="17">
                  <c:v>379</c:v>
                </c:pt>
                <c:pt idx="18">
                  <c:v>379</c:v>
                </c:pt>
                <c:pt idx="19">
                  <c:v>379</c:v>
                </c:pt>
                <c:pt idx="20">
                  <c:v>379</c:v>
                </c:pt>
                <c:pt idx="21">
                  <c:v>379</c:v>
                </c:pt>
                <c:pt idx="22">
                  <c:v>379</c:v>
                </c:pt>
                <c:pt idx="23">
                  <c:v>379</c:v>
                </c:pt>
                <c:pt idx="24">
                  <c:v>379</c:v>
                </c:pt>
                <c:pt idx="25">
                  <c:v>379</c:v>
                </c:pt>
                <c:pt idx="26">
                  <c:v>379</c:v>
                </c:pt>
                <c:pt idx="27">
                  <c:v>379</c:v>
                </c:pt>
                <c:pt idx="28">
                  <c:v>379</c:v>
                </c:pt>
                <c:pt idx="29">
                  <c:v>379</c:v>
                </c:pt>
                <c:pt idx="30">
                  <c:v>379</c:v>
                </c:pt>
                <c:pt idx="31">
                  <c:v>379</c:v>
                </c:pt>
                <c:pt idx="32">
                  <c:v>379</c:v>
                </c:pt>
                <c:pt idx="33">
                  <c:v>379</c:v>
                </c:pt>
                <c:pt idx="34">
                  <c:v>379</c:v>
                </c:pt>
                <c:pt idx="35">
                  <c:v>379</c:v>
                </c:pt>
                <c:pt idx="36">
                  <c:v>379</c:v>
                </c:pt>
                <c:pt idx="37">
                  <c:v>379</c:v>
                </c:pt>
                <c:pt idx="38">
                  <c:v>379</c:v>
                </c:pt>
                <c:pt idx="39">
                  <c:v>379</c:v>
                </c:pt>
                <c:pt idx="40">
                  <c:v>379</c:v>
                </c:pt>
                <c:pt idx="41">
                  <c:v>379</c:v>
                </c:pt>
                <c:pt idx="42">
                  <c:v>379</c:v>
                </c:pt>
                <c:pt idx="43">
                  <c:v>379</c:v>
                </c:pt>
                <c:pt idx="44">
                  <c:v>379</c:v>
                </c:pt>
                <c:pt idx="45">
                  <c:v>379</c:v>
                </c:pt>
                <c:pt idx="46">
                  <c:v>379</c:v>
                </c:pt>
                <c:pt idx="47">
                  <c:v>379</c:v>
                </c:pt>
                <c:pt idx="48">
                  <c:v>379</c:v>
                </c:pt>
                <c:pt idx="49">
                  <c:v>379</c:v>
                </c:pt>
                <c:pt idx="50">
                  <c:v>379</c:v>
                </c:pt>
                <c:pt idx="51">
                  <c:v>379</c:v>
                </c:pt>
                <c:pt idx="52">
                  <c:v>379</c:v>
                </c:pt>
                <c:pt idx="53">
                  <c:v>379</c:v>
                </c:pt>
                <c:pt idx="54">
                  <c:v>379</c:v>
                </c:pt>
                <c:pt idx="55">
                  <c:v>379</c:v>
                </c:pt>
                <c:pt idx="56">
                  <c:v>379</c:v>
                </c:pt>
                <c:pt idx="57">
                  <c:v>379</c:v>
                </c:pt>
                <c:pt idx="58">
                  <c:v>379</c:v>
                </c:pt>
                <c:pt idx="59">
                  <c:v>379</c:v>
                </c:pt>
                <c:pt idx="60">
                  <c:v>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29</c:v>
                </c:pt>
                <c:pt idx="1">
                  <c:v>236</c:v>
                </c:pt>
                <c:pt idx="2">
                  <c:v>232</c:v>
                </c:pt>
                <c:pt idx="3">
                  <c:v>251</c:v>
                </c:pt>
                <c:pt idx="4">
                  <c:v>244</c:v>
                </c:pt>
                <c:pt idx="5">
                  <c:v>228</c:v>
                </c:pt>
                <c:pt idx="6">
                  <c:v>237</c:v>
                </c:pt>
                <c:pt idx="7">
                  <c:v>284</c:v>
                </c:pt>
                <c:pt idx="8">
                  <c:v>281</c:v>
                </c:pt>
                <c:pt idx="9">
                  <c:v>277</c:v>
                </c:pt>
                <c:pt idx="10">
                  <c:v>276</c:v>
                </c:pt>
                <c:pt idx="11">
                  <c:v>297</c:v>
                </c:pt>
                <c:pt idx="12">
                  <c:v>276</c:v>
                </c:pt>
                <c:pt idx="13">
                  <c:v>285</c:v>
                </c:pt>
                <c:pt idx="14">
                  <c:v>331</c:v>
                </c:pt>
                <c:pt idx="15">
                  <c:v>312</c:v>
                </c:pt>
                <c:pt idx="16">
                  <c:v>306</c:v>
                </c:pt>
                <c:pt idx="17">
                  <c:v>297</c:v>
                </c:pt>
                <c:pt idx="18">
                  <c:v>283</c:v>
                </c:pt>
                <c:pt idx="19">
                  <c:v>260</c:v>
                </c:pt>
                <c:pt idx="20">
                  <c:v>270</c:v>
                </c:pt>
                <c:pt idx="21">
                  <c:v>304</c:v>
                </c:pt>
                <c:pt idx="22">
                  <c:v>267</c:v>
                </c:pt>
                <c:pt idx="23">
                  <c:v>271</c:v>
                </c:pt>
                <c:pt idx="24">
                  <c:v>279</c:v>
                </c:pt>
                <c:pt idx="25">
                  <c:v>257</c:v>
                </c:pt>
                <c:pt idx="26">
                  <c:v>223</c:v>
                </c:pt>
                <c:pt idx="27">
                  <c:v>245</c:v>
                </c:pt>
                <c:pt idx="28">
                  <c:v>267</c:v>
                </c:pt>
                <c:pt idx="29">
                  <c:v>267</c:v>
                </c:pt>
                <c:pt idx="30">
                  <c:v>264</c:v>
                </c:pt>
                <c:pt idx="31">
                  <c:v>254</c:v>
                </c:pt>
                <c:pt idx="32">
                  <c:v>226</c:v>
                </c:pt>
                <c:pt idx="33">
                  <c:v>220</c:v>
                </c:pt>
                <c:pt idx="34">
                  <c:v>226</c:v>
                </c:pt>
                <c:pt idx="35">
                  <c:v>230</c:v>
                </c:pt>
                <c:pt idx="36">
                  <c:v>246</c:v>
                </c:pt>
                <c:pt idx="37">
                  <c:v>217</c:v>
                </c:pt>
                <c:pt idx="38">
                  <c:v>213</c:v>
                </c:pt>
                <c:pt idx="39">
                  <c:v>195</c:v>
                </c:pt>
                <c:pt idx="40">
                  <c:v>182</c:v>
                </c:pt>
                <c:pt idx="41">
                  <c:v>182</c:v>
                </c:pt>
                <c:pt idx="42">
                  <c:v>207</c:v>
                </c:pt>
                <c:pt idx="43">
                  <c:v>187</c:v>
                </c:pt>
                <c:pt idx="44">
                  <c:v>187</c:v>
                </c:pt>
                <c:pt idx="45">
                  <c:v>191</c:v>
                </c:pt>
                <c:pt idx="46">
                  <c:v>169</c:v>
                </c:pt>
                <c:pt idx="47">
                  <c:v>149</c:v>
                </c:pt>
                <c:pt idx="48">
                  <c:v>152</c:v>
                </c:pt>
                <c:pt idx="49">
                  <c:v>168</c:v>
                </c:pt>
                <c:pt idx="50">
                  <c:v>160</c:v>
                </c:pt>
                <c:pt idx="51">
                  <c:v>166</c:v>
                </c:pt>
                <c:pt idx="52">
                  <c:v>149</c:v>
                </c:pt>
                <c:pt idx="53">
                  <c:v>14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43.56939137272553</c:v>
                </c:pt>
                <c:pt idx="32">
                  <c:v>237.71336431419286</c:v>
                </c:pt>
                <c:pt idx="33">
                  <c:v>231.73384473337626</c:v>
                </c:pt>
                <c:pt idx="34">
                  <c:v>225.94507733788919</c:v>
                </c:pt>
                <c:pt idx="35">
                  <c:v>220.25427115303029</c:v>
                </c:pt>
                <c:pt idx="36">
                  <c:v>214.5539399879064</c:v>
                </c:pt>
                <c:pt idx="37">
                  <c:v>208.92002945476645</c:v>
                </c:pt>
                <c:pt idx="38">
                  <c:v>203.24415703947511</c:v>
                </c:pt>
                <c:pt idx="39">
                  <c:v>197.43622561285184</c:v>
                </c:pt>
                <c:pt idx="40">
                  <c:v>191.58569527008757</c:v>
                </c:pt>
                <c:pt idx="41">
                  <c:v>185.74591627504688</c:v>
                </c:pt>
                <c:pt idx="42">
                  <c:v>179.82632931815937</c:v>
                </c:pt>
                <c:pt idx="43">
                  <c:v>173.79663324742617</c:v>
                </c:pt>
                <c:pt idx="44">
                  <c:v>167.73196946680264</c:v>
                </c:pt>
                <c:pt idx="45">
                  <c:v>161.67555635971672</c:v>
                </c:pt>
                <c:pt idx="46">
                  <c:v>155.68271239385948</c:v>
                </c:pt>
                <c:pt idx="47">
                  <c:v>149.7775714554021</c:v>
                </c:pt>
                <c:pt idx="48">
                  <c:v>143.95808282474914</c:v>
                </c:pt>
                <c:pt idx="49">
                  <c:v>138.17963883036327</c:v>
                </c:pt>
                <c:pt idx="50">
                  <c:v>132.47396185871759</c:v>
                </c:pt>
                <c:pt idx="51">
                  <c:v>126.90202454237978</c:v>
                </c:pt>
                <c:pt idx="52">
                  <c:v>121.47766808565612</c:v>
                </c:pt>
                <c:pt idx="53">
                  <c:v>116.22122247687189</c:v>
                </c:pt>
                <c:pt idx="54">
                  <c:v>111.12682570347677</c:v>
                </c:pt>
                <c:pt idx="55">
                  <c:v>106.20931251271455</c:v>
                </c:pt>
                <c:pt idx="56">
                  <c:v>101.45192430073214</c:v>
                </c:pt>
                <c:pt idx="57">
                  <c:v>96.866168477964152</c:v>
                </c:pt>
                <c:pt idx="58">
                  <c:v>92.451455136809926</c:v>
                </c:pt>
                <c:pt idx="59">
                  <c:v>88.201345591253926</c:v>
                </c:pt>
                <c:pt idx="60">
                  <c:v>84.125314922817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43.98893550286368</c:v>
                </c:pt>
                <c:pt idx="32">
                  <c:v>238.87589462847976</c:v>
                </c:pt>
                <c:pt idx="33">
                  <c:v>233.84080150320349</c:v>
                </c:pt>
                <c:pt idx="34">
                  <c:v>229.1181897009366</c:v>
                </c:pt>
                <c:pt idx="35">
                  <c:v>224.64085771817224</c:v>
                </c:pt>
                <c:pt idx="36">
                  <c:v>220.32938627430781</c:v>
                </c:pt>
                <c:pt idx="37">
                  <c:v>216.27488219684494</c:v>
                </c:pt>
                <c:pt idx="38">
                  <c:v>212.37266166253164</c:v>
                </c:pt>
                <c:pt idx="39">
                  <c:v>208.45624547085598</c:v>
                </c:pt>
                <c:pt idx="40">
                  <c:v>204.56892677455457</c:v>
                </c:pt>
                <c:pt idx="41">
                  <c:v>200.74104588287886</c:v>
                </c:pt>
                <c:pt idx="42">
                  <c:v>196.87225637748665</c:v>
                </c:pt>
                <c:pt idx="43">
                  <c:v>192.9111574253221</c:v>
                </c:pt>
                <c:pt idx="44">
                  <c:v>188.91181552798224</c:v>
                </c:pt>
                <c:pt idx="45">
                  <c:v>184.8922233226844</c:v>
                </c:pt>
                <c:pt idx="46">
                  <c:v>180.87942879192116</c:v>
                </c:pt>
                <c:pt idx="47">
                  <c:v>176.88598192624247</c:v>
                </c:pt>
                <c:pt idx="48">
                  <c:v>172.90278683669288</c:v>
                </c:pt>
                <c:pt idx="49">
                  <c:v>168.8799657026984</c:v>
                </c:pt>
                <c:pt idx="50">
                  <c:v>164.84168317625688</c:v>
                </c:pt>
                <c:pt idx="51">
                  <c:v>160.83783718542608</c:v>
                </c:pt>
                <c:pt idx="52">
                  <c:v>156.87503877548488</c:v>
                </c:pt>
                <c:pt idx="53">
                  <c:v>152.96884809592814</c:v>
                </c:pt>
                <c:pt idx="54">
                  <c:v>149.1155749736713</c:v>
                </c:pt>
                <c:pt idx="55">
                  <c:v>145.33338527135615</c:v>
                </c:pt>
                <c:pt idx="56">
                  <c:v>141.60564103999599</c:v>
                </c:pt>
                <c:pt idx="57">
                  <c:v>137.94511639925901</c:v>
                </c:pt>
                <c:pt idx="58">
                  <c:v>134.35344133620833</c:v>
                </c:pt>
                <c:pt idx="59">
                  <c:v>130.82668939246537</c:v>
                </c:pt>
                <c:pt idx="60">
                  <c:v>127.3789294679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44.40847963300183</c:v>
                </c:pt>
                <c:pt idx="32">
                  <c:v>240.03974426393057</c:v>
                </c:pt>
                <c:pt idx="33">
                  <c:v>235.95196167148333</c:v>
                </c:pt>
                <c:pt idx="34">
                  <c:v>232.29736578347581</c:v>
                </c:pt>
                <c:pt idx="35">
                  <c:v>229.0563131896406</c:v>
                </c:pt>
                <c:pt idx="36">
                  <c:v>226.19210091736289</c:v>
                </c:pt>
                <c:pt idx="37">
                  <c:v>223.82301017319668</c:v>
                </c:pt>
                <c:pt idx="38">
                  <c:v>221.85331375273506</c:v>
                </c:pt>
                <c:pt idx="39">
                  <c:v>220.03497741648448</c:v>
                </c:pt>
                <c:pt idx="40">
                  <c:v>218.36209436084499</c:v>
                </c:pt>
                <c:pt idx="41">
                  <c:v>216.85247443272326</c:v>
                </c:pt>
                <c:pt idx="42">
                  <c:v>215.41117609198412</c:v>
                </c:pt>
                <c:pt idx="43">
                  <c:v>213.9757055743525</c:v>
                </c:pt>
                <c:pt idx="44">
                  <c:v>212.57184949095893</c:v>
                </c:pt>
                <c:pt idx="45">
                  <c:v>211.18796763428463</c:v>
                </c:pt>
                <c:pt idx="46">
                  <c:v>209.82222003153336</c:v>
                </c:pt>
                <c:pt idx="47">
                  <c:v>208.47530382042316</c:v>
                </c:pt>
                <c:pt idx="48">
                  <c:v>207.13476145619978</c:v>
                </c:pt>
                <c:pt idx="49">
                  <c:v>205.74571553324907</c:v>
                </c:pt>
                <c:pt idx="50">
                  <c:v>204.31500176145698</c:v>
                </c:pt>
                <c:pt idx="51">
                  <c:v>202.87760224896761</c:v>
                </c:pt>
                <c:pt idx="52">
                  <c:v>201.42995059987814</c:v>
                </c:pt>
                <c:pt idx="53">
                  <c:v>199.9811539995103</c:v>
                </c:pt>
                <c:pt idx="54">
                  <c:v>198.52589630839395</c:v>
                </c:pt>
                <c:pt idx="55">
                  <c:v>197.08046298098765</c:v>
                </c:pt>
                <c:pt idx="56">
                  <c:v>195.62541915205611</c:v>
                </c:pt>
                <c:pt idx="57">
                  <c:v>194.16825176118704</c:v>
                </c:pt>
                <c:pt idx="58">
                  <c:v>192.70845411667358</c:v>
                </c:pt>
                <c:pt idx="59">
                  <c:v>191.24095252178378</c:v>
                </c:pt>
                <c:pt idx="60">
                  <c:v>189.77991142476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45.03911514937303</c:v>
                </c:pt>
                <c:pt idx="32">
                  <c:v>241.78642381264956</c:v>
                </c:pt>
                <c:pt idx="33">
                  <c:v>239.11689578959135</c:v>
                </c:pt>
                <c:pt idx="34">
                  <c:v>237.0618598885076</c:v>
                </c:pt>
                <c:pt idx="35">
                  <c:v>235.71170613617937</c:v>
                </c:pt>
                <c:pt idx="36">
                  <c:v>235.12737787522912</c:v>
                </c:pt>
                <c:pt idx="37">
                  <c:v>235.48419463613632</c:v>
                </c:pt>
                <c:pt idx="38">
                  <c:v>236.71217969335686</c:v>
                </c:pt>
                <c:pt idx="39">
                  <c:v>238.4224620390695</c:v>
                </c:pt>
                <c:pt idx="40">
                  <c:v>240.55155373877994</c:v>
                </c:pt>
                <c:pt idx="41">
                  <c:v>243.12494315859874</c:v>
                </c:pt>
                <c:pt idx="42">
                  <c:v>246.09638614336183</c:v>
                </c:pt>
                <c:pt idx="43">
                  <c:v>249.39266279312363</c:v>
                </c:pt>
                <c:pt idx="44">
                  <c:v>253.00020277890891</c:v>
                </c:pt>
                <c:pt idx="45">
                  <c:v>256.86050115264476</c:v>
                </c:pt>
                <c:pt idx="46">
                  <c:v>260.93068887666402</c:v>
                </c:pt>
                <c:pt idx="47">
                  <c:v>265.2129502210812</c:v>
                </c:pt>
                <c:pt idx="48">
                  <c:v>269.70747744314576</c:v>
                </c:pt>
                <c:pt idx="49">
                  <c:v>274.3556116007145</c:v>
                </c:pt>
                <c:pt idx="50">
                  <c:v>279.13613552060093</c:v>
                </c:pt>
                <c:pt idx="51">
                  <c:v>284.05911725274802</c:v>
                </c:pt>
                <c:pt idx="52">
                  <c:v>289.10344894474923</c:v>
                </c:pt>
                <c:pt idx="53">
                  <c:v>294.27730119904288</c:v>
                </c:pt>
                <c:pt idx="54">
                  <c:v>299.58125217085819</c:v>
                </c:pt>
                <c:pt idx="55">
                  <c:v>305.03132022090858</c:v>
                </c:pt>
                <c:pt idx="56">
                  <c:v>310.59690909559953</c:v>
                </c:pt>
                <c:pt idx="57">
                  <c:v>316.27294839674448</c:v>
                </c:pt>
                <c:pt idx="58">
                  <c:v>322.05267399301113</c:v>
                </c:pt>
                <c:pt idx="59">
                  <c:v>327.93727999185404</c:v>
                </c:pt>
                <c:pt idx="60">
                  <c:v>333.94490304781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82</c:v>
                </c:pt>
                <c:pt idx="1">
                  <c:v>971</c:v>
                </c:pt>
                <c:pt idx="2">
                  <c:v>968</c:v>
                </c:pt>
                <c:pt idx="3">
                  <c:v>991</c:v>
                </c:pt>
                <c:pt idx="4">
                  <c:v>1000</c:v>
                </c:pt>
                <c:pt idx="5">
                  <c:v>965</c:v>
                </c:pt>
                <c:pt idx="6">
                  <c:v>993</c:v>
                </c:pt>
                <c:pt idx="7">
                  <c:v>1106</c:v>
                </c:pt>
                <c:pt idx="8">
                  <c:v>1109</c:v>
                </c:pt>
                <c:pt idx="9">
                  <c:v>1130</c:v>
                </c:pt>
                <c:pt idx="10">
                  <c:v>1117</c:v>
                </c:pt>
                <c:pt idx="11">
                  <c:v>1137</c:v>
                </c:pt>
                <c:pt idx="12">
                  <c:v>1087</c:v>
                </c:pt>
                <c:pt idx="13">
                  <c:v>1111</c:v>
                </c:pt>
                <c:pt idx="14">
                  <c:v>1190</c:v>
                </c:pt>
                <c:pt idx="15">
                  <c:v>1167</c:v>
                </c:pt>
                <c:pt idx="16">
                  <c:v>1157</c:v>
                </c:pt>
                <c:pt idx="17">
                  <c:v>1119</c:v>
                </c:pt>
                <c:pt idx="18">
                  <c:v>1096</c:v>
                </c:pt>
                <c:pt idx="19">
                  <c:v>1023</c:v>
                </c:pt>
                <c:pt idx="20">
                  <c:v>1029</c:v>
                </c:pt>
                <c:pt idx="21">
                  <c:v>1128</c:v>
                </c:pt>
                <c:pt idx="22">
                  <c:v>1065</c:v>
                </c:pt>
                <c:pt idx="23">
                  <c:v>1017</c:v>
                </c:pt>
                <c:pt idx="24">
                  <c:v>1020</c:v>
                </c:pt>
                <c:pt idx="25">
                  <c:v>1014</c:v>
                </c:pt>
                <c:pt idx="26">
                  <c:v>944</c:v>
                </c:pt>
                <c:pt idx="27">
                  <c:v>961</c:v>
                </c:pt>
                <c:pt idx="28">
                  <c:v>1041</c:v>
                </c:pt>
                <c:pt idx="29">
                  <c:v>978</c:v>
                </c:pt>
                <c:pt idx="30">
                  <c:v>968</c:v>
                </c:pt>
                <c:pt idx="31">
                  <c:v>930</c:v>
                </c:pt>
                <c:pt idx="32">
                  <c:v>789</c:v>
                </c:pt>
                <c:pt idx="33">
                  <c:v>784</c:v>
                </c:pt>
                <c:pt idx="34">
                  <c:v>798</c:v>
                </c:pt>
                <c:pt idx="35">
                  <c:v>841</c:v>
                </c:pt>
                <c:pt idx="36">
                  <c:v>911</c:v>
                </c:pt>
                <c:pt idx="37">
                  <c:v>864</c:v>
                </c:pt>
                <c:pt idx="38">
                  <c:v>816</c:v>
                </c:pt>
                <c:pt idx="39">
                  <c:v>770</c:v>
                </c:pt>
                <c:pt idx="40">
                  <c:v>680</c:v>
                </c:pt>
                <c:pt idx="41">
                  <c:v>676</c:v>
                </c:pt>
                <c:pt idx="42">
                  <c:v>707</c:v>
                </c:pt>
                <c:pt idx="43">
                  <c:v>637</c:v>
                </c:pt>
                <c:pt idx="44">
                  <c:v>581</c:v>
                </c:pt>
                <c:pt idx="45">
                  <c:v>545</c:v>
                </c:pt>
                <c:pt idx="46">
                  <c:v>499</c:v>
                </c:pt>
                <c:pt idx="47">
                  <c:v>459</c:v>
                </c:pt>
                <c:pt idx="48">
                  <c:v>458</c:v>
                </c:pt>
                <c:pt idx="49">
                  <c:v>510</c:v>
                </c:pt>
                <c:pt idx="50">
                  <c:v>467</c:v>
                </c:pt>
                <c:pt idx="51">
                  <c:v>459</c:v>
                </c:pt>
                <c:pt idx="52">
                  <c:v>456</c:v>
                </c:pt>
                <c:pt idx="53">
                  <c:v>43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41.46509255257251</c:v>
                </c:pt>
                <c:pt idx="32">
                  <c:v>918.65864191730316</c:v>
                </c:pt>
                <c:pt idx="33">
                  <c:v>895.38929790857105</c:v>
                </c:pt>
                <c:pt idx="34">
                  <c:v>872.88411558378652</c:v>
                </c:pt>
                <c:pt idx="35">
                  <c:v>850.78831824817144</c:v>
                </c:pt>
                <c:pt idx="36">
                  <c:v>828.69476569361723</c:v>
                </c:pt>
                <c:pt idx="37">
                  <c:v>806.87671605563423</c:v>
                </c:pt>
                <c:pt idx="38">
                  <c:v>784.90843215565701</c:v>
                </c:pt>
                <c:pt idx="39">
                  <c:v>762.44132161112498</c:v>
                </c:pt>
                <c:pt idx="40">
                  <c:v>739.81623957416218</c:v>
                </c:pt>
                <c:pt idx="41">
                  <c:v>717.23957097376592</c:v>
                </c:pt>
                <c:pt idx="42">
                  <c:v>694.3631008054715</c:v>
                </c:pt>
                <c:pt idx="43">
                  <c:v>671.07456437917938</c:v>
                </c:pt>
                <c:pt idx="44">
                  <c:v>647.65298411634888</c:v>
                </c:pt>
                <c:pt idx="45">
                  <c:v>624.26171654907694</c:v>
                </c:pt>
                <c:pt idx="46">
                  <c:v>601.11923338983695</c:v>
                </c:pt>
                <c:pt idx="47">
                  <c:v>578.31847774200264</c:v>
                </c:pt>
                <c:pt idx="48">
                  <c:v>555.84909375292466</c:v>
                </c:pt>
                <c:pt idx="49">
                  <c:v>533.53720670387804</c:v>
                </c:pt>
                <c:pt idx="50">
                  <c:v>511.50717102214736</c:v>
                </c:pt>
                <c:pt idx="51">
                  <c:v>489.99458460647998</c:v>
                </c:pt>
                <c:pt idx="52">
                  <c:v>469.05184418400052</c:v>
                </c:pt>
                <c:pt idx="53">
                  <c:v>448.76017690389438</c:v>
                </c:pt>
                <c:pt idx="54">
                  <c:v>429.09657704989809</c:v>
                </c:pt>
                <c:pt idx="55">
                  <c:v>410.11678318839176</c:v>
                </c:pt>
                <c:pt idx="56">
                  <c:v>391.75525242169414</c:v>
                </c:pt>
                <c:pt idx="57">
                  <c:v>374.0564905969967</c:v>
                </c:pt>
                <c:pt idx="58">
                  <c:v>357.01794979071417</c:v>
                </c:pt>
                <c:pt idx="59">
                  <c:v>340.61495170039041</c:v>
                </c:pt>
                <c:pt idx="60">
                  <c:v>324.88398555759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943.07906782147768</c:v>
                </c:pt>
                <c:pt idx="32">
                  <c:v>923.13102545143624</c:v>
                </c:pt>
                <c:pt idx="33">
                  <c:v>903.49582414975964</c:v>
                </c:pt>
                <c:pt idx="34">
                  <c:v>885.09443897593678</c:v>
                </c:pt>
                <c:pt idx="35">
                  <c:v>867.67116860263536</c:v>
                </c:pt>
                <c:pt idx="36">
                  <c:v>850.92757981560544</c:v>
                </c:pt>
                <c:pt idx="37">
                  <c:v>835.19571440144</c:v>
                </c:pt>
                <c:pt idx="38">
                  <c:v>820.06447666527629</c:v>
                </c:pt>
                <c:pt idx="39">
                  <c:v>804.8911680061783</c:v>
                </c:pt>
                <c:pt idx="40">
                  <c:v>789.83839926830512</c:v>
                </c:pt>
                <c:pt idx="41">
                  <c:v>775.02326531736026</c:v>
                </c:pt>
                <c:pt idx="42">
                  <c:v>760.05948037286248</c:v>
                </c:pt>
                <c:pt idx="43">
                  <c:v>744.75318294782994</c:v>
                </c:pt>
                <c:pt idx="44">
                  <c:v>729.30195351543875</c:v>
                </c:pt>
                <c:pt idx="45">
                  <c:v>713.77159985370088</c:v>
                </c:pt>
                <c:pt idx="46">
                  <c:v>698.27147573739944</c:v>
                </c:pt>
                <c:pt idx="47">
                  <c:v>682.84956351913706</c:v>
                </c:pt>
                <c:pt idx="48">
                  <c:v>667.46798161950812</c:v>
                </c:pt>
                <c:pt idx="49">
                  <c:v>651.93244476621351</c:v>
                </c:pt>
                <c:pt idx="50">
                  <c:v>636.33809416937299</c:v>
                </c:pt>
                <c:pt idx="51">
                  <c:v>620.877898444641</c:v>
                </c:pt>
                <c:pt idx="52">
                  <c:v>605.57636683883368</c:v>
                </c:pt>
                <c:pt idx="53">
                  <c:v>590.49640434405092</c:v>
                </c:pt>
                <c:pt idx="54">
                  <c:v>575.62336065062686</c:v>
                </c:pt>
                <c:pt idx="55">
                  <c:v>561.02572331217493</c:v>
                </c:pt>
                <c:pt idx="56">
                  <c:v>546.63847813505538</c:v>
                </c:pt>
                <c:pt idx="57">
                  <c:v>532.51105354370191</c:v>
                </c:pt>
                <c:pt idx="58">
                  <c:v>518.64948446222547</c:v>
                </c:pt>
                <c:pt idx="59">
                  <c:v>505.03877655303762</c:v>
                </c:pt>
                <c:pt idx="60">
                  <c:v>491.733145186048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44.69304309038296</c:v>
                </c:pt>
                <c:pt idx="32">
                  <c:v>927.60848437949676</c:v>
                </c:pt>
                <c:pt idx="33">
                  <c:v>911.6185212574029</c:v>
                </c:pt>
                <c:pt idx="34">
                  <c:v>897.32809306490958</c:v>
                </c:pt>
                <c:pt idx="35">
                  <c:v>884.66508837879951</c:v>
                </c:pt>
                <c:pt idx="36">
                  <c:v>873.49614473847305</c:v>
                </c:pt>
                <c:pt idx="37">
                  <c:v>864.25834287322948</c:v>
                </c:pt>
                <c:pt idx="38">
                  <c:v>856.57552207498645</c:v>
                </c:pt>
                <c:pt idx="39">
                  <c:v>849.49107588831953</c:v>
                </c:pt>
                <c:pt idx="40">
                  <c:v>842.97783132097311</c:v>
                </c:pt>
                <c:pt idx="41">
                  <c:v>837.10403634251441</c:v>
                </c:pt>
                <c:pt idx="42">
                  <c:v>831.50391435462529</c:v>
                </c:pt>
                <c:pt idx="43">
                  <c:v>825.94061940109543</c:v>
                </c:pt>
                <c:pt idx="44">
                  <c:v>820.50265349323899</c:v>
                </c:pt>
                <c:pt idx="45">
                  <c:v>815.14136181784534</c:v>
                </c:pt>
                <c:pt idx="46">
                  <c:v>809.85461836402737</c:v>
                </c:pt>
                <c:pt idx="47">
                  <c:v>804.64441655365272</c:v>
                </c:pt>
                <c:pt idx="48">
                  <c:v>799.45953540796904</c:v>
                </c:pt>
                <c:pt idx="49">
                  <c:v>794.08632020149321</c:v>
                </c:pt>
                <c:pt idx="50">
                  <c:v>788.55309533929653</c:v>
                </c:pt>
                <c:pt idx="51">
                  <c:v>782.99537489516001</c:v>
                </c:pt>
                <c:pt idx="52">
                  <c:v>777.39837211971917</c:v>
                </c:pt>
                <c:pt idx="53">
                  <c:v>771.80013800953338</c:v>
                </c:pt>
                <c:pt idx="54">
                  <c:v>766.17971362756248</c:v>
                </c:pt>
                <c:pt idx="55">
                  <c:v>760.59823482146487</c:v>
                </c:pt>
                <c:pt idx="56">
                  <c:v>754.97994155929382</c:v>
                </c:pt>
                <c:pt idx="57">
                  <c:v>749.35391599987099</c:v>
                </c:pt>
                <c:pt idx="58">
                  <c:v>743.71796566188584</c:v>
                </c:pt>
                <c:pt idx="59">
                  <c:v>738.05264665973891</c:v>
                </c:pt>
                <c:pt idx="60">
                  <c:v>732.41254706202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47.11908138766819</c:v>
                </c:pt>
                <c:pt idx="32">
                  <c:v>934.32815515322363</c:v>
                </c:pt>
                <c:pt idx="33">
                  <c:v>923.79562123740857</c:v>
                </c:pt>
                <c:pt idx="34">
                  <c:v>915.66215073237436</c:v>
                </c:pt>
                <c:pt idx="35">
                  <c:v>910.27987844432664</c:v>
                </c:pt>
                <c:pt idx="36">
                  <c:v>907.89221248816898</c:v>
                </c:pt>
                <c:pt idx="37">
                  <c:v>909.15648071767669</c:v>
                </c:pt>
                <c:pt idx="38">
                  <c:v>913.79643336642062</c:v>
                </c:pt>
                <c:pt idx="39">
                  <c:v>920.31360429464064</c:v>
                </c:pt>
                <c:pt idx="40">
                  <c:v>928.45878650032</c:v>
                </c:pt>
                <c:pt idx="41">
                  <c:v>938.32905978420888</c:v>
                </c:pt>
                <c:pt idx="42">
                  <c:v>949.74584836513782</c:v>
                </c:pt>
                <c:pt idx="43">
                  <c:v>962.43083842386329</c:v>
                </c:pt>
                <c:pt idx="44">
                  <c:v>976.32089741310688</c:v>
                </c:pt>
                <c:pt idx="45">
                  <c:v>991.18652679521801</c:v>
                </c:pt>
                <c:pt idx="46">
                  <c:v>1006.867353611722</c:v>
                </c:pt>
                <c:pt idx="47">
                  <c:v>1023.3706328504923</c:v>
                </c:pt>
                <c:pt idx="48">
                  <c:v>1040.6933214228136</c:v>
                </c:pt>
                <c:pt idx="49">
                  <c:v>1058.6071334231513</c:v>
                </c:pt>
                <c:pt idx="50">
                  <c:v>1077.0323004770983</c:v>
                </c:pt>
                <c:pt idx="51">
                  <c:v>1096.0084045663953</c:v>
                </c:pt>
                <c:pt idx="52">
                  <c:v>1115.4529550270638</c:v>
                </c:pt>
                <c:pt idx="53">
                  <c:v>1135.4003723321666</c:v>
                </c:pt>
                <c:pt idx="54">
                  <c:v>1155.8523033594083</c:v>
                </c:pt>
                <c:pt idx="55">
                  <c:v>1176.8687030301803</c:v>
                </c:pt>
                <c:pt idx="56">
                  <c:v>1198.3309019036199</c:v>
                </c:pt>
                <c:pt idx="57">
                  <c:v>1220.2196522748102</c:v>
                </c:pt>
                <c:pt idx="58">
                  <c:v>1242.5086616439851</c:v>
                </c:pt>
                <c:pt idx="59">
                  <c:v>1265.2025174883065</c:v>
                </c:pt>
                <c:pt idx="60">
                  <c:v>1288.3710928084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89</c:v>
                </c:pt>
                <c:pt idx="1">
                  <c:v>1189</c:v>
                </c:pt>
                <c:pt idx="2">
                  <c:v>1189</c:v>
                </c:pt>
                <c:pt idx="3">
                  <c:v>1189</c:v>
                </c:pt>
                <c:pt idx="4">
                  <c:v>1189</c:v>
                </c:pt>
                <c:pt idx="5">
                  <c:v>1189</c:v>
                </c:pt>
                <c:pt idx="6">
                  <c:v>1189</c:v>
                </c:pt>
                <c:pt idx="7">
                  <c:v>1189</c:v>
                </c:pt>
                <c:pt idx="8">
                  <c:v>1189</c:v>
                </c:pt>
                <c:pt idx="9">
                  <c:v>1189</c:v>
                </c:pt>
                <c:pt idx="10">
                  <c:v>1189</c:v>
                </c:pt>
                <c:pt idx="11">
                  <c:v>1189</c:v>
                </c:pt>
                <c:pt idx="12">
                  <c:v>1189</c:v>
                </c:pt>
                <c:pt idx="13">
                  <c:v>1189</c:v>
                </c:pt>
                <c:pt idx="14">
                  <c:v>1189</c:v>
                </c:pt>
                <c:pt idx="15">
                  <c:v>1189</c:v>
                </c:pt>
                <c:pt idx="16">
                  <c:v>1189</c:v>
                </c:pt>
                <c:pt idx="17">
                  <c:v>1189</c:v>
                </c:pt>
                <c:pt idx="18">
                  <c:v>1189</c:v>
                </c:pt>
                <c:pt idx="19">
                  <c:v>1189</c:v>
                </c:pt>
                <c:pt idx="20">
                  <c:v>1189</c:v>
                </c:pt>
                <c:pt idx="21">
                  <c:v>1189</c:v>
                </c:pt>
                <c:pt idx="22">
                  <c:v>1189</c:v>
                </c:pt>
                <c:pt idx="23">
                  <c:v>1189</c:v>
                </c:pt>
                <c:pt idx="24">
                  <c:v>1189</c:v>
                </c:pt>
                <c:pt idx="25">
                  <c:v>1189</c:v>
                </c:pt>
                <c:pt idx="26">
                  <c:v>1189</c:v>
                </c:pt>
                <c:pt idx="27">
                  <c:v>1189</c:v>
                </c:pt>
                <c:pt idx="28">
                  <c:v>1189</c:v>
                </c:pt>
                <c:pt idx="29">
                  <c:v>1189</c:v>
                </c:pt>
                <c:pt idx="30">
                  <c:v>1189</c:v>
                </c:pt>
                <c:pt idx="31">
                  <c:v>1189</c:v>
                </c:pt>
                <c:pt idx="32">
                  <c:v>1189</c:v>
                </c:pt>
                <c:pt idx="33">
                  <c:v>1189</c:v>
                </c:pt>
                <c:pt idx="34">
                  <c:v>1189</c:v>
                </c:pt>
                <c:pt idx="35">
                  <c:v>1189</c:v>
                </c:pt>
                <c:pt idx="36">
                  <c:v>1189</c:v>
                </c:pt>
                <c:pt idx="37">
                  <c:v>1189</c:v>
                </c:pt>
                <c:pt idx="38">
                  <c:v>1189</c:v>
                </c:pt>
                <c:pt idx="39">
                  <c:v>1189</c:v>
                </c:pt>
                <c:pt idx="40">
                  <c:v>1189</c:v>
                </c:pt>
                <c:pt idx="41">
                  <c:v>1189</c:v>
                </c:pt>
                <c:pt idx="42">
                  <c:v>1189</c:v>
                </c:pt>
                <c:pt idx="43">
                  <c:v>1189</c:v>
                </c:pt>
                <c:pt idx="44">
                  <c:v>1189</c:v>
                </c:pt>
                <c:pt idx="45">
                  <c:v>1189</c:v>
                </c:pt>
                <c:pt idx="46">
                  <c:v>1189</c:v>
                </c:pt>
                <c:pt idx="47">
                  <c:v>1189</c:v>
                </c:pt>
                <c:pt idx="48">
                  <c:v>1189</c:v>
                </c:pt>
                <c:pt idx="49">
                  <c:v>1189</c:v>
                </c:pt>
                <c:pt idx="50">
                  <c:v>1189</c:v>
                </c:pt>
                <c:pt idx="51">
                  <c:v>1189</c:v>
                </c:pt>
                <c:pt idx="52">
                  <c:v>1189</c:v>
                </c:pt>
                <c:pt idx="53">
                  <c:v>1189</c:v>
                </c:pt>
                <c:pt idx="54">
                  <c:v>1189</c:v>
                </c:pt>
                <c:pt idx="55">
                  <c:v>1189</c:v>
                </c:pt>
                <c:pt idx="56">
                  <c:v>1189</c:v>
                </c:pt>
                <c:pt idx="57">
                  <c:v>1189</c:v>
                </c:pt>
                <c:pt idx="58">
                  <c:v>1189</c:v>
                </c:pt>
                <c:pt idx="59">
                  <c:v>1189</c:v>
                </c:pt>
                <c:pt idx="60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6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1</c:v>
                </c:pt>
                <c:pt idx="1">
                  <c:v>354</c:v>
                </c:pt>
                <c:pt idx="2">
                  <c:v>373</c:v>
                </c:pt>
                <c:pt idx="3">
                  <c:v>375</c:v>
                </c:pt>
                <c:pt idx="4">
                  <c:v>385</c:v>
                </c:pt>
                <c:pt idx="5">
                  <c:v>372</c:v>
                </c:pt>
                <c:pt idx="6">
                  <c:v>401</c:v>
                </c:pt>
                <c:pt idx="7">
                  <c:v>444</c:v>
                </c:pt>
                <c:pt idx="8">
                  <c:v>444</c:v>
                </c:pt>
                <c:pt idx="9">
                  <c:v>455</c:v>
                </c:pt>
                <c:pt idx="10">
                  <c:v>462</c:v>
                </c:pt>
                <c:pt idx="11">
                  <c:v>463</c:v>
                </c:pt>
                <c:pt idx="12">
                  <c:v>431</c:v>
                </c:pt>
                <c:pt idx="13">
                  <c:v>465</c:v>
                </c:pt>
                <c:pt idx="14">
                  <c:v>502</c:v>
                </c:pt>
                <c:pt idx="15">
                  <c:v>494</c:v>
                </c:pt>
                <c:pt idx="16">
                  <c:v>496</c:v>
                </c:pt>
                <c:pt idx="17">
                  <c:v>502</c:v>
                </c:pt>
                <c:pt idx="18">
                  <c:v>506</c:v>
                </c:pt>
                <c:pt idx="19">
                  <c:v>467</c:v>
                </c:pt>
                <c:pt idx="20">
                  <c:v>493</c:v>
                </c:pt>
                <c:pt idx="21">
                  <c:v>519</c:v>
                </c:pt>
                <c:pt idx="22">
                  <c:v>488</c:v>
                </c:pt>
                <c:pt idx="23">
                  <c:v>461</c:v>
                </c:pt>
                <c:pt idx="24">
                  <c:v>440</c:v>
                </c:pt>
                <c:pt idx="25">
                  <c:v>432</c:v>
                </c:pt>
                <c:pt idx="26">
                  <c:v>416</c:v>
                </c:pt>
                <c:pt idx="27">
                  <c:v>424</c:v>
                </c:pt>
                <c:pt idx="28">
                  <c:v>443</c:v>
                </c:pt>
                <c:pt idx="29">
                  <c:v>425</c:v>
                </c:pt>
                <c:pt idx="30">
                  <c:v>405</c:v>
                </c:pt>
                <c:pt idx="31">
                  <c:v>382</c:v>
                </c:pt>
                <c:pt idx="32">
                  <c:v>346</c:v>
                </c:pt>
                <c:pt idx="33">
                  <c:v>355</c:v>
                </c:pt>
                <c:pt idx="34">
                  <c:v>359</c:v>
                </c:pt>
                <c:pt idx="35">
                  <c:v>354</c:v>
                </c:pt>
                <c:pt idx="36">
                  <c:v>368</c:v>
                </c:pt>
                <c:pt idx="37">
                  <c:v>344</c:v>
                </c:pt>
                <c:pt idx="38">
                  <c:v>326</c:v>
                </c:pt>
                <c:pt idx="39">
                  <c:v>328</c:v>
                </c:pt>
                <c:pt idx="40">
                  <c:v>296</c:v>
                </c:pt>
                <c:pt idx="41">
                  <c:v>313</c:v>
                </c:pt>
                <c:pt idx="42">
                  <c:v>332</c:v>
                </c:pt>
                <c:pt idx="43">
                  <c:v>320</c:v>
                </c:pt>
                <c:pt idx="44">
                  <c:v>300</c:v>
                </c:pt>
                <c:pt idx="45">
                  <c:v>295</c:v>
                </c:pt>
                <c:pt idx="46">
                  <c:v>292</c:v>
                </c:pt>
                <c:pt idx="47">
                  <c:v>259</c:v>
                </c:pt>
                <c:pt idx="48">
                  <c:v>271</c:v>
                </c:pt>
                <c:pt idx="49">
                  <c:v>286</c:v>
                </c:pt>
                <c:pt idx="50">
                  <c:v>284</c:v>
                </c:pt>
                <c:pt idx="51">
                  <c:v>288</c:v>
                </c:pt>
                <c:pt idx="52">
                  <c:v>278</c:v>
                </c:pt>
                <c:pt idx="53">
                  <c:v>26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98.83239231968213</c:v>
                </c:pt>
                <c:pt idx="32">
                  <c:v>389.19195824471041</c:v>
                </c:pt>
                <c:pt idx="33">
                  <c:v>379.35365362571417</c:v>
                </c:pt>
                <c:pt idx="34">
                  <c:v>369.83576958235551</c:v>
                </c:pt>
                <c:pt idx="35">
                  <c:v>360.48753440186817</c:v>
                </c:pt>
                <c:pt idx="36">
                  <c:v>351.13544808902532</c:v>
                </c:pt>
                <c:pt idx="37">
                  <c:v>341.89776563848295</c:v>
                </c:pt>
                <c:pt idx="38">
                  <c:v>332.59496915644155</c:v>
                </c:pt>
                <c:pt idx="39">
                  <c:v>323.07942658329523</c:v>
                </c:pt>
                <c:pt idx="40">
                  <c:v>313.49614073861369</c:v>
                </c:pt>
                <c:pt idx="41">
                  <c:v>303.93252135084447</c:v>
                </c:pt>
                <c:pt idx="42">
                  <c:v>294.24083021442141</c:v>
                </c:pt>
                <c:pt idx="43">
                  <c:v>284.37291148164559</c:v>
                </c:pt>
                <c:pt idx="44">
                  <c:v>274.44837128061221</c:v>
                </c:pt>
                <c:pt idx="45">
                  <c:v>264.53686648805865</c:v>
                </c:pt>
                <c:pt idx="46">
                  <c:v>254.73037650401943</c:v>
                </c:pt>
                <c:pt idx="47">
                  <c:v>245.06831672064624</c:v>
                </c:pt>
                <c:pt idx="48">
                  <c:v>235.54659873500736</c:v>
                </c:pt>
                <c:pt idx="49">
                  <c:v>226.09174275668522</c:v>
                </c:pt>
                <c:pt idx="50">
                  <c:v>216.75621528180022</c:v>
                </c:pt>
                <c:pt idx="51">
                  <c:v>207.63983220669436</c:v>
                </c:pt>
                <c:pt idx="52">
                  <c:v>198.76492598782534</c:v>
                </c:pt>
                <c:pt idx="53">
                  <c:v>190.16558155831191</c:v>
                </c:pt>
                <c:pt idx="54">
                  <c:v>181.83209572207753</c:v>
                </c:pt>
                <c:pt idx="55">
                  <c:v>173.78827791955325</c:v>
                </c:pt>
                <c:pt idx="56">
                  <c:v>166.00645642932813</c:v>
                </c:pt>
                <c:pt idx="57">
                  <c:v>158.50548199259407</c:v>
                </c:pt>
                <c:pt idx="58">
                  <c:v>151.28430815153141</c:v>
                </c:pt>
                <c:pt idx="59">
                  <c:v>144.33245474876711</c:v>
                </c:pt>
                <c:pt idx="60">
                  <c:v>137.66539625383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99.5170643038731</c:v>
                </c:pt>
                <c:pt idx="32">
                  <c:v>391.0891891940567</c:v>
                </c:pt>
                <c:pt idx="33">
                  <c:v>382.79242277587434</c:v>
                </c:pt>
                <c:pt idx="34">
                  <c:v>375.01514255130246</c:v>
                </c:pt>
                <c:pt idx="35">
                  <c:v>367.64852780025035</c:v>
                </c:pt>
                <c:pt idx="36">
                  <c:v>360.56510292377163</c:v>
                </c:pt>
                <c:pt idx="37">
                  <c:v>353.90800312526954</c:v>
                </c:pt>
                <c:pt idx="38">
                  <c:v>347.50387066365022</c:v>
                </c:pt>
                <c:pt idx="39">
                  <c:v>341.08034221252274</c:v>
                </c:pt>
                <c:pt idx="40">
                  <c:v>334.70688595465822</c:v>
                </c:pt>
                <c:pt idx="41">
                  <c:v>328.43312874489345</c:v>
                </c:pt>
                <c:pt idx="42">
                  <c:v>322.09523407821325</c:v>
                </c:pt>
                <c:pt idx="43">
                  <c:v>315.61048427729787</c:v>
                </c:pt>
                <c:pt idx="44">
                  <c:v>309.06398197697104</c:v>
                </c:pt>
                <c:pt idx="45">
                  <c:v>302.48406493977046</c:v>
                </c:pt>
                <c:pt idx="46">
                  <c:v>295.91646786586864</c:v>
                </c:pt>
                <c:pt idx="47">
                  <c:v>289.3815822753113</c:v>
                </c:pt>
                <c:pt idx="48">
                  <c:v>282.86369521565598</c:v>
                </c:pt>
                <c:pt idx="49">
                  <c:v>276.28068529211771</c:v>
                </c:pt>
                <c:pt idx="50">
                  <c:v>269.6726434717059</c:v>
                </c:pt>
                <c:pt idx="51">
                  <c:v>263.12130479447023</c:v>
                </c:pt>
                <c:pt idx="52">
                  <c:v>256.63718048636809</c:v>
                </c:pt>
                <c:pt idx="53">
                  <c:v>250.24657958207999</c:v>
                </c:pt>
                <c:pt idx="54">
                  <c:v>243.94334332251987</c:v>
                </c:pt>
                <c:pt idx="55">
                  <c:v>237.75669757414326</c:v>
                </c:pt>
                <c:pt idx="56">
                  <c:v>231.65918692648353</c:v>
                </c:pt>
                <c:pt idx="57">
                  <c:v>225.67174422600135</c:v>
                </c:pt>
                <c:pt idx="58">
                  <c:v>219.7969586769068</c:v>
                </c:pt>
                <c:pt idx="59">
                  <c:v>214.02845579421432</c:v>
                </c:pt>
                <c:pt idx="60">
                  <c:v>208.38922308502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00.20173628806401</c:v>
                </c:pt>
                <c:pt idx="32">
                  <c:v>392.98857319995699</c:v>
                </c:pt>
                <c:pt idx="33">
                  <c:v>386.23805178268378</c:v>
                </c:pt>
                <c:pt idx="34">
                  <c:v>380.20441228372039</c:v>
                </c:pt>
                <c:pt idx="35">
                  <c:v>374.85663705657646</c:v>
                </c:pt>
                <c:pt idx="36">
                  <c:v>370.13718425510865</c:v>
                </c:pt>
                <c:pt idx="37">
                  <c:v>366.2336864045659</c:v>
                </c:pt>
                <c:pt idx="38">
                  <c:v>362.98754651739216</c:v>
                </c:pt>
                <c:pt idx="39">
                  <c:v>359.99325767237366</c:v>
                </c:pt>
                <c:pt idx="40">
                  <c:v>357.23984231850767</c:v>
                </c:pt>
                <c:pt idx="41">
                  <c:v>354.75628510785498</c:v>
                </c:pt>
                <c:pt idx="42">
                  <c:v>352.38748481790373</c:v>
                </c:pt>
                <c:pt idx="43">
                  <c:v>350.03252745199188</c:v>
                </c:pt>
                <c:pt idx="44">
                  <c:v>347.73027834595115</c:v>
                </c:pt>
                <c:pt idx="45">
                  <c:v>345.46057609024678</c:v>
                </c:pt>
                <c:pt idx="46">
                  <c:v>343.22190708174401</c:v>
                </c:pt>
                <c:pt idx="47">
                  <c:v>341.01520199753463</c:v>
                </c:pt>
                <c:pt idx="48">
                  <c:v>338.81913941401092</c:v>
                </c:pt>
                <c:pt idx="49">
                  <c:v>336.54339795147087</c:v>
                </c:pt>
                <c:pt idx="50">
                  <c:v>334.19974278455862</c:v>
                </c:pt>
                <c:pt idx="51">
                  <c:v>331.84554500652155</c:v>
                </c:pt>
                <c:pt idx="52">
                  <c:v>329.47466364879574</c:v>
                </c:pt>
                <c:pt idx="53">
                  <c:v>327.10286797424129</c:v>
                </c:pt>
                <c:pt idx="54">
                  <c:v>324.72132962945739</c:v>
                </c:pt>
                <c:pt idx="55">
                  <c:v>322.35617033332426</c:v>
                </c:pt>
                <c:pt idx="56">
                  <c:v>319.97537442542932</c:v>
                </c:pt>
                <c:pt idx="57">
                  <c:v>317.5912443859221</c:v>
                </c:pt>
                <c:pt idx="58">
                  <c:v>315.20288017890141</c:v>
                </c:pt>
                <c:pt idx="59">
                  <c:v>312.80202422141741</c:v>
                </c:pt>
                <c:pt idx="60">
                  <c:v>310.411821491560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01.23089732090455</c:v>
                </c:pt>
                <c:pt idx="32">
                  <c:v>395.83912642407165</c:v>
                </c:pt>
                <c:pt idx="33">
                  <c:v>391.40354852785401</c:v>
                </c:pt>
                <c:pt idx="34">
                  <c:v>387.98134941383114</c:v>
                </c:pt>
                <c:pt idx="35">
                  <c:v>385.72136550415127</c:v>
                </c:pt>
                <c:pt idx="36">
                  <c:v>384.72574725472543</c:v>
                </c:pt>
                <c:pt idx="37">
                  <c:v>385.27545769380345</c:v>
                </c:pt>
                <c:pt idx="38">
                  <c:v>387.25417858619846</c:v>
                </c:pt>
                <c:pt idx="39">
                  <c:v>390.02654613018865</c:v>
                </c:pt>
                <c:pt idx="40">
                  <c:v>393.48745703436333</c:v>
                </c:pt>
                <c:pt idx="41">
                  <c:v>397.67821419480492</c:v>
                </c:pt>
                <c:pt idx="42">
                  <c:v>402.52314661274897</c:v>
                </c:pt>
                <c:pt idx="43">
                  <c:v>407.90377430066633</c:v>
                </c:pt>
                <c:pt idx="44">
                  <c:v>413.79466533136588</c:v>
                </c:pt>
                <c:pt idx="45">
                  <c:v>420.09901044925437</c:v>
                </c:pt>
                <c:pt idx="46">
                  <c:v>426.74821592110789</c:v>
                </c:pt>
                <c:pt idx="47">
                  <c:v>433.74550120250842</c:v>
                </c:pt>
                <c:pt idx="48">
                  <c:v>441.09004261549092</c:v>
                </c:pt>
                <c:pt idx="49">
                  <c:v>448.68532235892178</c:v>
                </c:pt>
                <c:pt idx="50">
                  <c:v>456.49727256667438</c:v>
                </c:pt>
                <c:pt idx="51">
                  <c:v>464.5425794461251</c:v>
                </c:pt>
                <c:pt idx="52">
                  <c:v>472.7864085051342</c:v>
                </c:pt>
                <c:pt idx="53">
                  <c:v>481.24299228377589</c:v>
                </c:pt>
                <c:pt idx="54">
                  <c:v>489.91310071709438</c:v>
                </c:pt>
                <c:pt idx="55">
                  <c:v>498.82237350886066</c:v>
                </c:pt>
                <c:pt idx="56">
                  <c:v>507.92058871966583</c:v>
                </c:pt>
                <c:pt idx="57">
                  <c:v>517.19954932414498</c:v>
                </c:pt>
                <c:pt idx="58">
                  <c:v>526.64813514046614</c:v>
                </c:pt>
                <c:pt idx="59">
                  <c:v>536.26829301239843</c:v>
                </c:pt>
                <c:pt idx="60">
                  <c:v>546.0896515214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8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13</c:v>
                </c:pt>
                <c:pt idx="1">
                  <c:v>319</c:v>
                </c:pt>
                <c:pt idx="2">
                  <c:v>322</c:v>
                </c:pt>
                <c:pt idx="3">
                  <c:v>332</c:v>
                </c:pt>
                <c:pt idx="4">
                  <c:v>342</c:v>
                </c:pt>
                <c:pt idx="5">
                  <c:v>331</c:v>
                </c:pt>
                <c:pt idx="6">
                  <c:v>336</c:v>
                </c:pt>
                <c:pt idx="7">
                  <c:v>350</c:v>
                </c:pt>
                <c:pt idx="8">
                  <c:v>347</c:v>
                </c:pt>
                <c:pt idx="9">
                  <c:v>342</c:v>
                </c:pt>
                <c:pt idx="10">
                  <c:v>345</c:v>
                </c:pt>
                <c:pt idx="11">
                  <c:v>347</c:v>
                </c:pt>
                <c:pt idx="12">
                  <c:v>326</c:v>
                </c:pt>
                <c:pt idx="13">
                  <c:v>338</c:v>
                </c:pt>
                <c:pt idx="14">
                  <c:v>365</c:v>
                </c:pt>
                <c:pt idx="15">
                  <c:v>359</c:v>
                </c:pt>
                <c:pt idx="16">
                  <c:v>360</c:v>
                </c:pt>
                <c:pt idx="17">
                  <c:v>364</c:v>
                </c:pt>
                <c:pt idx="18">
                  <c:v>370</c:v>
                </c:pt>
                <c:pt idx="19">
                  <c:v>350</c:v>
                </c:pt>
                <c:pt idx="20">
                  <c:v>358</c:v>
                </c:pt>
                <c:pt idx="21">
                  <c:v>392</c:v>
                </c:pt>
                <c:pt idx="22">
                  <c:v>378</c:v>
                </c:pt>
                <c:pt idx="23">
                  <c:v>391</c:v>
                </c:pt>
                <c:pt idx="24">
                  <c:v>376</c:v>
                </c:pt>
                <c:pt idx="25">
                  <c:v>374</c:v>
                </c:pt>
                <c:pt idx="26">
                  <c:v>359</c:v>
                </c:pt>
                <c:pt idx="27">
                  <c:v>375</c:v>
                </c:pt>
                <c:pt idx="28">
                  <c:v>409</c:v>
                </c:pt>
                <c:pt idx="29">
                  <c:v>404</c:v>
                </c:pt>
                <c:pt idx="30">
                  <c:v>383</c:v>
                </c:pt>
                <c:pt idx="31">
                  <c:v>384</c:v>
                </c:pt>
                <c:pt idx="32">
                  <c:v>369</c:v>
                </c:pt>
                <c:pt idx="33">
                  <c:v>377</c:v>
                </c:pt>
                <c:pt idx="34">
                  <c:v>414</c:v>
                </c:pt>
                <c:pt idx="35">
                  <c:v>425</c:v>
                </c:pt>
                <c:pt idx="36">
                  <c:v>431</c:v>
                </c:pt>
                <c:pt idx="37">
                  <c:v>407</c:v>
                </c:pt>
                <c:pt idx="38">
                  <c:v>385</c:v>
                </c:pt>
                <c:pt idx="39">
                  <c:v>377</c:v>
                </c:pt>
                <c:pt idx="40">
                  <c:v>351</c:v>
                </c:pt>
                <c:pt idx="41">
                  <c:v>342</c:v>
                </c:pt>
                <c:pt idx="42">
                  <c:v>356</c:v>
                </c:pt>
                <c:pt idx="43">
                  <c:v>361</c:v>
                </c:pt>
                <c:pt idx="44">
                  <c:v>360</c:v>
                </c:pt>
                <c:pt idx="45">
                  <c:v>363</c:v>
                </c:pt>
                <c:pt idx="46">
                  <c:v>359</c:v>
                </c:pt>
                <c:pt idx="47">
                  <c:v>356</c:v>
                </c:pt>
                <c:pt idx="48">
                  <c:v>365</c:v>
                </c:pt>
                <c:pt idx="49">
                  <c:v>385</c:v>
                </c:pt>
                <c:pt idx="50">
                  <c:v>377</c:v>
                </c:pt>
                <c:pt idx="51">
                  <c:v>376</c:v>
                </c:pt>
                <c:pt idx="52">
                  <c:v>370</c:v>
                </c:pt>
                <c:pt idx="53">
                  <c:v>35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74.53791033597952</c:v>
                </c:pt>
                <c:pt idx="32">
                  <c:v>365.76247518504147</c:v>
                </c:pt>
                <c:pt idx="33">
                  <c:v>356.77779905827248</c:v>
                </c:pt>
                <c:pt idx="34">
                  <c:v>348.05047228638983</c:v>
                </c:pt>
                <c:pt idx="35">
                  <c:v>339.4326024641453</c:v>
                </c:pt>
                <c:pt idx="36">
                  <c:v>330.74775508946942</c:v>
                </c:pt>
                <c:pt idx="37">
                  <c:v>322.1398991467849</c:v>
                </c:pt>
                <c:pt idx="38">
                  <c:v>313.45149483802072</c:v>
                </c:pt>
                <c:pt idx="39">
                  <c:v>304.54445659575578</c:v>
                </c:pt>
                <c:pt idx="40">
                  <c:v>295.56295724315351</c:v>
                </c:pt>
                <c:pt idx="41">
                  <c:v>286.58880472140777</c:v>
                </c:pt>
                <c:pt idx="42">
                  <c:v>277.48030386292726</c:v>
                </c:pt>
                <c:pt idx="43">
                  <c:v>268.18435228359971</c:v>
                </c:pt>
                <c:pt idx="44">
                  <c:v>258.83179542562357</c:v>
                </c:pt>
                <c:pt idx="45">
                  <c:v>249.49404040629582</c:v>
                </c:pt>
                <c:pt idx="46">
                  <c:v>240.24992099179212</c:v>
                </c:pt>
                <c:pt idx="47">
                  <c:v>231.13700514785447</c:v>
                </c:pt>
                <c:pt idx="48">
                  <c:v>222.15539393327413</c:v>
                </c:pt>
                <c:pt idx="49">
                  <c:v>213.23844097364196</c:v>
                </c:pt>
                <c:pt idx="50">
                  <c:v>204.43259704947135</c:v>
                </c:pt>
                <c:pt idx="51">
                  <c:v>195.83172552430847</c:v>
                </c:pt>
                <c:pt idx="52">
                  <c:v>187.45858841494788</c:v>
                </c:pt>
                <c:pt idx="53">
                  <c:v>179.34090245435095</c:v>
                </c:pt>
                <c:pt idx="54">
                  <c:v>171.47011896566477</c:v>
                </c:pt>
                <c:pt idx="55">
                  <c:v>163.87119556761812</c:v>
                </c:pt>
                <c:pt idx="56">
                  <c:v>156.51938884210932</c:v>
                </c:pt>
                <c:pt idx="57">
                  <c:v>149.43235838876791</c:v>
                </c:pt>
                <c:pt idx="58">
                  <c:v>142.60955582655063</c:v>
                </c:pt>
                <c:pt idx="59">
                  <c:v>136.04080028483594</c:v>
                </c:pt>
                <c:pt idx="60">
                  <c:v>129.74084204741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75.19333755966585</c:v>
                </c:pt>
                <c:pt idx="32">
                  <c:v>367.57840845732187</c:v>
                </c:pt>
                <c:pt idx="33">
                  <c:v>360.06786533425304</c:v>
                </c:pt>
                <c:pt idx="34">
                  <c:v>353.003011730119</c:v>
                </c:pt>
                <c:pt idx="35">
                  <c:v>346.27508355759113</c:v>
                </c:pt>
                <c:pt idx="36">
                  <c:v>339.75050969107582</c:v>
                </c:pt>
                <c:pt idx="37">
                  <c:v>333.59632979309544</c:v>
                </c:pt>
                <c:pt idx="38">
                  <c:v>327.6602293773168</c:v>
                </c:pt>
                <c:pt idx="39">
                  <c:v>321.68515289118665</c:v>
                </c:pt>
                <c:pt idx="40">
                  <c:v>315.74400860792059</c:v>
                </c:pt>
                <c:pt idx="41">
                  <c:v>309.88369088364573</c:v>
                </c:pt>
                <c:pt idx="42">
                  <c:v>303.94777748036012</c:v>
                </c:pt>
                <c:pt idx="43">
                  <c:v>297.85077520781402</c:v>
                </c:pt>
                <c:pt idx="44">
                  <c:v>291.6910976655281</c:v>
                </c:pt>
                <c:pt idx="45">
                  <c:v>285.5014212353106</c:v>
                </c:pt>
                <c:pt idx="46">
                  <c:v>279.31689963182168</c:v>
                </c:pt>
                <c:pt idx="47">
                  <c:v>273.15753697967381</c:v>
                </c:pt>
                <c:pt idx="48">
                  <c:v>267.01299500510493</c:v>
                </c:pt>
                <c:pt idx="49">
                  <c:v>260.80857688743924</c:v>
                </c:pt>
                <c:pt idx="50">
                  <c:v>254.57911240276516</c:v>
                </c:pt>
                <c:pt idx="51">
                  <c:v>248.40119734590337</c:v>
                </c:pt>
                <c:pt idx="52">
                  <c:v>242.28639664493249</c:v>
                </c:pt>
                <c:pt idx="53">
                  <c:v>236.25493885804607</c:v>
                </c:pt>
                <c:pt idx="54">
                  <c:v>230.30166770362342</c:v>
                </c:pt>
                <c:pt idx="55">
                  <c:v>224.45683284494581</c:v>
                </c:pt>
                <c:pt idx="56">
                  <c:v>218.69579288018554</c:v>
                </c:pt>
                <c:pt idx="57">
                  <c:v>213.03811988597266</c:v>
                </c:pt>
                <c:pt idx="58">
                  <c:v>207.48667591347694</c:v>
                </c:pt>
                <c:pt idx="59">
                  <c:v>202.03517867399972</c:v>
                </c:pt>
                <c:pt idx="60">
                  <c:v>196.70548295379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75.84876478335229</c:v>
                </c:pt>
                <c:pt idx="32">
                  <c:v>369.39640282150054</c:v>
                </c:pt>
                <c:pt idx="33">
                  <c:v>363.36449763980238</c:v>
                </c:pt>
                <c:pt idx="34">
                  <c:v>357.96501914580898</c:v>
                </c:pt>
                <c:pt idx="35">
                  <c:v>353.16264931385854</c:v>
                </c:pt>
                <c:pt idx="36">
                  <c:v>348.88955562275549</c:v>
                </c:pt>
                <c:pt idx="37">
                  <c:v>345.35456093648622</c:v>
                </c:pt>
                <c:pt idx="38">
                  <c:v>342.41870126253957</c:v>
                </c:pt>
                <c:pt idx="39">
                  <c:v>339.69773752194919</c:v>
                </c:pt>
                <c:pt idx="40">
                  <c:v>337.18840313915007</c:v>
                </c:pt>
                <c:pt idx="41">
                  <c:v>334.91887773119106</c:v>
                </c:pt>
                <c:pt idx="42">
                  <c:v>332.74156222047657</c:v>
                </c:pt>
                <c:pt idx="43">
                  <c:v>330.55404928121214</c:v>
                </c:pt>
                <c:pt idx="44">
                  <c:v>328.41095640922777</c:v>
                </c:pt>
                <c:pt idx="45">
                  <c:v>326.29929052362013</c:v>
                </c:pt>
                <c:pt idx="46">
                  <c:v>324.20954250913388</c:v>
                </c:pt>
                <c:pt idx="47">
                  <c:v>322.14372377790994</c:v>
                </c:pt>
                <c:pt idx="48">
                  <c:v>320.08678987888726</c:v>
                </c:pt>
                <c:pt idx="49">
                  <c:v>317.95641589815483</c:v>
                </c:pt>
                <c:pt idx="50">
                  <c:v>315.76056443549624</c:v>
                </c:pt>
                <c:pt idx="51">
                  <c:v>313.55262807997076</c:v>
                </c:pt>
                <c:pt idx="52">
                  <c:v>311.32846463217027</c:v>
                </c:pt>
                <c:pt idx="53">
                  <c:v>309.09826126378516</c:v>
                </c:pt>
                <c:pt idx="54">
                  <c:v>306.85439332668392</c:v>
                </c:pt>
                <c:pt idx="55">
                  <c:v>304.62433069223107</c:v>
                </c:pt>
                <c:pt idx="56">
                  <c:v>302.37904399183003</c:v>
                </c:pt>
                <c:pt idx="57">
                  <c:v>300.12985434766898</c:v>
                </c:pt>
                <c:pt idx="58">
                  <c:v>297.87629607274221</c:v>
                </c:pt>
                <c:pt idx="59">
                  <c:v>295.61034305373494</c:v>
                </c:pt>
                <c:pt idx="60">
                  <c:v>293.353992477803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76.83396671078026</c:v>
                </c:pt>
                <c:pt idx="32">
                  <c:v>372.12480766759148</c:v>
                </c:pt>
                <c:pt idx="33">
                  <c:v>368.30662117996212</c:v>
                </c:pt>
                <c:pt idx="34">
                  <c:v>365.40135522343331</c:v>
                </c:pt>
                <c:pt idx="35">
                  <c:v>363.54431667696633</c:v>
                </c:pt>
                <c:pt idx="36">
                  <c:v>362.81870880665588</c:v>
                </c:pt>
                <c:pt idx="37">
                  <c:v>363.52136034857233</c:v>
                </c:pt>
                <c:pt idx="38">
                  <c:v>365.55239754021841</c:v>
                </c:pt>
                <c:pt idx="39">
                  <c:v>368.30764712101438</c:v>
                </c:pt>
                <c:pt idx="40">
                  <c:v>371.69458502555403</c:v>
                </c:pt>
                <c:pt idx="41">
                  <c:v>375.75433401580568</c:v>
                </c:pt>
                <c:pt idx="42">
                  <c:v>380.41555505396315</c:v>
                </c:pt>
                <c:pt idx="43">
                  <c:v>385.55935828982297</c:v>
                </c:pt>
                <c:pt idx="44">
                  <c:v>391.17918374867287</c:v>
                </c:pt>
                <c:pt idx="45">
                  <c:v>397.18956980630759</c:v>
                </c:pt>
                <c:pt idx="46">
                  <c:v>403.51745845953747</c:v>
                </c:pt>
                <c:pt idx="47">
                  <c:v>410.16779982475924</c:v>
                </c:pt>
                <c:pt idx="48">
                  <c:v>417.14596195140871</c:v>
                </c:pt>
                <c:pt idx="49">
                  <c:v>424.36382441479577</c:v>
                </c:pt>
                <c:pt idx="50">
                  <c:v>431.78575777966034</c:v>
                </c:pt>
                <c:pt idx="51">
                  <c:v>439.42635136061358</c:v>
                </c:pt>
                <c:pt idx="52">
                  <c:v>447.25435699047927</c:v>
                </c:pt>
                <c:pt idx="53">
                  <c:v>455.27853553706484</c:v>
                </c:pt>
                <c:pt idx="54">
                  <c:v>463.50056358751954</c:v>
                </c:pt>
                <c:pt idx="55">
                  <c:v>471.94769929195911</c:v>
                </c:pt>
                <c:pt idx="56">
                  <c:v>480.57343882625253</c:v>
                </c:pt>
                <c:pt idx="57">
                  <c:v>489.36951540604764</c:v>
                </c:pt>
                <c:pt idx="58">
                  <c:v>498.32572500295515</c:v>
                </c:pt>
                <c:pt idx="59">
                  <c:v>507.4439414322851</c:v>
                </c:pt>
                <c:pt idx="60">
                  <c:v>516.75236210415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1</c:v>
                </c:pt>
                <c:pt idx="1">
                  <c:v>745</c:v>
                </c:pt>
                <c:pt idx="2">
                  <c:v>759</c:v>
                </c:pt>
                <c:pt idx="3">
                  <c:v>763</c:v>
                </c:pt>
                <c:pt idx="4">
                  <c:v>773</c:v>
                </c:pt>
                <c:pt idx="5">
                  <c:v>721</c:v>
                </c:pt>
                <c:pt idx="6">
                  <c:v>751</c:v>
                </c:pt>
                <c:pt idx="7">
                  <c:v>807</c:v>
                </c:pt>
                <c:pt idx="8">
                  <c:v>846</c:v>
                </c:pt>
                <c:pt idx="9">
                  <c:v>871</c:v>
                </c:pt>
                <c:pt idx="10">
                  <c:v>847</c:v>
                </c:pt>
                <c:pt idx="11">
                  <c:v>834</c:v>
                </c:pt>
                <c:pt idx="12">
                  <c:v>786</c:v>
                </c:pt>
                <c:pt idx="13">
                  <c:v>813</c:v>
                </c:pt>
                <c:pt idx="14">
                  <c:v>879</c:v>
                </c:pt>
                <c:pt idx="15">
                  <c:v>870</c:v>
                </c:pt>
                <c:pt idx="16">
                  <c:v>864</c:v>
                </c:pt>
                <c:pt idx="17">
                  <c:v>842</c:v>
                </c:pt>
                <c:pt idx="18">
                  <c:v>841</c:v>
                </c:pt>
                <c:pt idx="19">
                  <c:v>801</c:v>
                </c:pt>
                <c:pt idx="20">
                  <c:v>825</c:v>
                </c:pt>
                <c:pt idx="21">
                  <c:v>905</c:v>
                </c:pt>
                <c:pt idx="22">
                  <c:v>906</c:v>
                </c:pt>
                <c:pt idx="23">
                  <c:v>875</c:v>
                </c:pt>
                <c:pt idx="24">
                  <c:v>883</c:v>
                </c:pt>
                <c:pt idx="25">
                  <c:v>895</c:v>
                </c:pt>
                <c:pt idx="26">
                  <c:v>849</c:v>
                </c:pt>
                <c:pt idx="27">
                  <c:v>850</c:v>
                </c:pt>
                <c:pt idx="28">
                  <c:v>929</c:v>
                </c:pt>
                <c:pt idx="29">
                  <c:v>913</c:v>
                </c:pt>
                <c:pt idx="30">
                  <c:v>862</c:v>
                </c:pt>
                <c:pt idx="31">
                  <c:v>866</c:v>
                </c:pt>
                <c:pt idx="32">
                  <c:v>746</c:v>
                </c:pt>
                <c:pt idx="33">
                  <c:v>738</c:v>
                </c:pt>
                <c:pt idx="34">
                  <c:v>759</c:v>
                </c:pt>
                <c:pt idx="35">
                  <c:v>763</c:v>
                </c:pt>
                <c:pt idx="36">
                  <c:v>890</c:v>
                </c:pt>
                <c:pt idx="37">
                  <c:v>857</c:v>
                </c:pt>
                <c:pt idx="38">
                  <c:v>791</c:v>
                </c:pt>
                <c:pt idx="39">
                  <c:v>744</c:v>
                </c:pt>
                <c:pt idx="40">
                  <c:v>675</c:v>
                </c:pt>
                <c:pt idx="41">
                  <c:v>681</c:v>
                </c:pt>
                <c:pt idx="42">
                  <c:v>729</c:v>
                </c:pt>
                <c:pt idx="43">
                  <c:v>717</c:v>
                </c:pt>
                <c:pt idx="44">
                  <c:v>672</c:v>
                </c:pt>
                <c:pt idx="45">
                  <c:v>647</c:v>
                </c:pt>
                <c:pt idx="46">
                  <c:v>592</c:v>
                </c:pt>
                <c:pt idx="47">
                  <c:v>531</c:v>
                </c:pt>
                <c:pt idx="48">
                  <c:v>543</c:v>
                </c:pt>
                <c:pt idx="49">
                  <c:v>593</c:v>
                </c:pt>
                <c:pt idx="50">
                  <c:v>602</c:v>
                </c:pt>
                <c:pt idx="51">
                  <c:v>562</c:v>
                </c:pt>
                <c:pt idx="52">
                  <c:v>536</c:v>
                </c:pt>
                <c:pt idx="53">
                  <c:v>509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31.98848477511558</c:v>
                </c:pt>
                <c:pt idx="32">
                  <c:v>812.1432829005696</c:v>
                </c:pt>
                <c:pt idx="33">
                  <c:v>791.86293621697621</c:v>
                </c:pt>
                <c:pt idx="34">
                  <c:v>772.20940290792078</c:v>
                </c:pt>
                <c:pt idx="35">
                  <c:v>752.86214151691172</c:v>
                </c:pt>
                <c:pt idx="36">
                  <c:v>733.44632198551926</c:v>
                </c:pt>
                <c:pt idx="37">
                  <c:v>714.24007510486149</c:v>
                </c:pt>
                <c:pt idx="38">
                  <c:v>694.87946426128008</c:v>
                </c:pt>
                <c:pt idx="39">
                  <c:v>675.05704889796266</c:v>
                </c:pt>
                <c:pt idx="40">
                  <c:v>655.08295810381026</c:v>
                </c:pt>
                <c:pt idx="41">
                  <c:v>635.13926896223415</c:v>
                </c:pt>
                <c:pt idx="42">
                  <c:v>614.91496670258221</c:v>
                </c:pt>
                <c:pt idx="43">
                  <c:v>594.3020681821115</c:v>
                </c:pt>
                <c:pt idx="44">
                  <c:v>573.56777468687824</c:v>
                </c:pt>
                <c:pt idx="45">
                  <c:v>552.86311968334064</c:v>
                </c:pt>
                <c:pt idx="46">
                  <c:v>532.37277263994997</c:v>
                </c:pt>
                <c:pt idx="47">
                  <c:v>512.17948519095103</c:v>
                </c:pt>
                <c:pt idx="48">
                  <c:v>492.27849269551416</c:v>
                </c:pt>
                <c:pt idx="49">
                  <c:v>472.51876379535963</c:v>
                </c:pt>
                <c:pt idx="50">
                  <c:v>453.00705323917884</c:v>
                </c:pt>
                <c:pt idx="51">
                  <c:v>433.95170496112888</c:v>
                </c:pt>
                <c:pt idx="52">
                  <c:v>415.40101560394828</c:v>
                </c:pt>
                <c:pt idx="53">
                  <c:v>397.42198859209168</c:v>
                </c:pt>
                <c:pt idx="54">
                  <c:v>379.99492070539935</c:v>
                </c:pt>
                <c:pt idx="55">
                  <c:v>363.17196205242533</c:v>
                </c:pt>
                <c:pt idx="56">
                  <c:v>346.89657482301516</c:v>
                </c:pt>
                <c:pt idx="57">
                  <c:v>331.2080418549034</c:v>
                </c:pt>
                <c:pt idx="58">
                  <c:v>316.10459506230836</c:v>
                </c:pt>
                <c:pt idx="59">
                  <c:v>301.56404828258644</c:v>
                </c:pt>
                <c:pt idx="60">
                  <c:v>287.61889084256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833.42865541609513</c:v>
                </c:pt>
                <c:pt idx="32">
                  <c:v>816.13375742711969</c:v>
                </c:pt>
                <c:pt idx="33">
                  <c:v>799.0944625345719</c:v>
                </c:pt>
                <c:pt idx="34">
                  <c:v>783.09858166868526</c:v>
                </c:pt>
                <c:pt idx="35">
                  <c:v>767.91283037403321</c:v>
                </c:pt>
                <c:pt idx="36">
                  <c:v>753.2580467806639</c:v>
                </c:pt>
                <c:pt idx="37">
                  <c:v>739.46398248305388</c:v>
                </c:pt>
                <c:pt idx="38">
                  <c:v>726.17901676959025</c:v>
                </c:pt>
                <c:pt idx="39">
                  <c:v>712.83375774031276</c:v>
                </c:pt>
                <c:pt idx="40">
                  <c:v>699.58044845335405</c:v>
                </c:pt>
                <c:pt idx="41">
                  <c:v>686.52289099675534</c:v>
                </c:pt>
                <c:pt idx="42">
                  <c:v>673.31686170362218</c:v>
                </c:pt>
                <c:pt idx="43">
                  <c:v>659.78234214629776</c:v>
                </c:pt>
                <c:pt idx="44">
                  <c:v>646.11452848935551</c:v>
                </c:pt>
                <c:pt idx="45">
                  <c:v>632.37832829498984</c:v>
                </c:pt>
                <c:pt idx="46">
                  <c:v>618.66170078483788</c:v>
                </c:pt>
                <c:pt idx="47">
                  <c:v>605.0080003715874</c:v>
                </c:pt>
                <c:pt idx="48">
                  <c:v>591.38866866047408</c:v>
                </c:pt>
                <c:pt idx="49">
                  <c:v>577.63470924796502</c:v>
                </c:pt>
                <c:pt idx="50">
                  <c:v>563.82706143179053</c:v>
                </c:pt>
                <c:pt idx="51">
                  <c:v>550.13607619398863</c:v>
                </c:pt>
                <c:pt idx="52">
                  <c:v>536.58529873384055</c:v>
                </c:pt>
                <c:pt idx="53">
                  <c:v>523.22533386809266</c:v>
                </c:pt>
                <c:pt idx="54">
                  <c:v>510.04393329149286</c:v>
                </c:pt>
                <c:pt idx="55">
                  <c:v>497.10474245722094</c:v>
                </c:pt>
                <c:pt idx="56">
                  <c:v>484.35157820141984</c:v>
                </c:pt>
                <c:pt idx="57">
                  <c:v>471.82802587645716</c:v>
                </c:pt>
                <c:pt idx="58">
                  <c:v>459.53989800896215</c:v>
                </c:pt>
                <c:pt idx="59">
                  <c:v>447.47361419450363</c:v>
                </c:pt>
                <c:pt idx="60">
                  <c:v>435.67738332593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34.86882605707478</c:v>
                </c:pt>
                <c:pt idx="32">
                  <c:v>820.12876079216346</c:v>
                </c:pt>
                <c:pt idx="33">
                  <c:v>806.3404174094245</c:v>
                </c:pt>
                <c:pt idx="34">
                  <c:v>794.00857194414482</c:v>
                </c:pt>
                <c:pt idx="35">
                  <c:v>783.06260702792292</c:v>
                </c:pt>
                <c:pt idx="36">
                  <c:v>773.36930872386563</c:v>
                </c:pt>
                <c:pt idx="37">
                  <c:v>765.35124928195671</c:v>
                </c:pt>
                <c:pt idx="38">
                  <c:v>758.68711157405914</c:v>
                </c:pt>
                <c:pt idx="39">
                  <c:v>752.52770413144003</c:v>
                </c:pt>
                <c:pt idx="40">
                  <c:v>746.85685413665101</c:v>
                </c:pt>
                <c:pt idx="41">
                  <c:v>741.73594286131333</c:v>
                </c:pt>
                <c:pt idx="42">
                  <c:v>736.83956118962988</c:v>
                </c:pt>
                <c:pt idx="43">
                  <c:v>731.94989806503077</c:v>
                </c:pt>
                <c:pt idx="44">
                  <c:v>727.16533734830591</c:v>
                </c:pt>
                <c:pt idx="45">
                  <c:v>722.44949540321181</c:v>
                </c:pt>
                <c:pt idx="46">
                  <c:v>717.79148912317487</c:v>
                </c:pt>
                <c:pt idx="47">
                  <c:v>713.19434646260015</c:v>
                </c:pt>
                <c:pt idx="48">
                  <c:v>708.61834497639597</c:v>
                </c:pt>
                <c:pt idx="49">
                  <c:v>703.87745175326631</c:v>
                </c:pt>
                <c:pt idx="50">
                  <c:v>698.99326189890758</c:v>
                </c:pt>
                <c:pt idx="51">
                  <c:v>694.08499284094421</c:v>
                </c:pt>
                <c:pt idx="52">
                  <c:v>689.14138611084377</c:v>
                </c:pt>
                <c:pt idx="53">
                  <c:v>684.19092271984925</c:v>
                </c:pt>
                <c:pt idx="54">
                  <c:v>679.21582231105913</c:v>
                </c:pt>
                <c:pt idx="55">
                  <c:v>674.27338411191158</c:v>
                </c:pt>
                <c:pt idx="56">
                  <c:v>669.29781122453596</c:v>
                </c:pt>
                <c:pt idx="57">
                  <c:v>664.31454578650039</c:v>
                </c:pt>
                <c:pt idx="58">
                  <c:v>659.3220728019561</c:v>
                </c:pt>
                <c:pt idx="59">
                  <c:v>654.3029070767634</c:v>
                </c:pt>
                <c:pt idx="60">
                  <c:v>649.305580765122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37.03361085703796</c:v>
                </c:pt>
                <c:pt idx="32">
                  <c:v>826.12437230075193</c:v>
                </c:pt>
                <c:pt idx="33">
                  <c:v>817.20314752024342</c:v>
                </c:pt>
                <c:pt idx="34">
                  <c:v>810.35889671200562</c:v>
                </c:pt>
                <c:pt idx="35">
                  <c:v>805.89783814746602</c:v>
                </c:pt>
                <c:pt idx="36">
                  <c:v>804.02090872547546</c:v>
                </c:pt>
                <c:pt idx="37">
                  <c:v>805.34571813376419</c:v>
                </c:pt>
                <c:pt idx="38">
                  <c:v>809.63855957391479</c:v>
                </c:pt>
                <c:pt idx="39">
                  <c:v>815.56685002145844</c:v>
                </c:pt>
                <c:pt idx="40">
                  <c:v>822.91723808641643</c:v>
                </c:pt>
                <c:pt idx="41">
                  <c:v>831.77811532905366</c:v>
                </c:pt>
                <c:pt idx="42">
                  <c:v>841.99136242891336</c:v>
                </c:pt>
                <c:pt idx="43">
                  <c:v>853.30253745963842</c:v>
                </c:pt>
                <c:pt idx="44">
                  <c:v>865.67513516376107</c:v>
                </c:pt>
                <c:pt idx="45">
                  <c:v>878.91241215829245</c:v>
                </c:pt>
                <c:pt idx="46">
                  <c:v>892.86302209254359</c:v>
                </c:pt>
                <c:pt idx="47">
                  <c:v>907.53552145810272</c:v>
                </c:pt>
                <c:pt idx="48">
                  <c:v>922.93405862007489</c:v>
                </c:pt>
                <c:pt idx="49">
                  <c:v>938.85969696881534</c:v>
                </c:pt>
                <c:pt idx="50">
                  <c:v>955.23789490846684</c:v>
                </c:pt>
                <c:pt idx="51">
                  <c:v>972.10242877833343</c:v>
                </c:pt>
                <c:pt idx="52">
                  <c:v>989.38203057847159</c:v>
                </c:pt>
                <c:pt idx="53">
                  <c:v>1007.1019916818311</c:v>
                </c:pt>
                <c:pt idx="54">
                  <c:v>1025.2648290825373</c:v>
                </c:pt>
                <c:pt idx="55">
                  <c:v>1043.9270666416257</c:v>
                </c:pt>
                <c:pt idx="56">
                  <c:v>1062.9845677546941</c:v>
                </c:pt>
                <c:pt idx="57">
                  <c:v>1082.4196893349117</c:v>
                </c:pt>
                <c:pt idx="58">
                  <c:v>1102.2094620994517</c:v>
                </c:pt>
                <c:pt idx="59">
                  <c:v>1122.3579908040224</c:v>
                </c:pt>
                <c:pt idx="60">
                  <c:v>1142.927439359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73</c:v>
                </c:pt>
                <c:pt idx="1">
                  <c:v>873</c:v>
                </c:pt>
                <c:pt idx="2">
                  <c:v>873</c:v>
                </c:pt>
                <c:pt idx="3">
                  <c:v>873</c:v>
                </c:pt>
                <c:pt idx="4">
                  <c:v>873</c:v>
                </c:pt>
                <c:pt idx="5">
                  <c:v>873</c:v>
                </c:pt>
                <c:pt idx="6">
                  <c:v>873</c:v>
                </c:pt>
                <c:pt idx="7">
                  <c:v>873</c:v>
                </c:pt>
                <c:pt idx="8">
                  <c:v>873</c:v>
                </c:pt>
                <c:pt idx="9">
                  <c:v>873</c:v>
                </c:pt>
                <c:pt idx="10">
                  <c:v>873</c:v>
                </c:pt>
                <c:pt idx="11">
                  <c:v>873</c:v>
                </c:pt>
                <c:pt idx="12">
                  <c:v>873</c:v>
                </c:pt>
                <c:pt idx="13">
                  <c:v>873</c:v>
                </c:pt>
                <c:pt idx="14">
                  <c:v>873</c:v>
                </c:pt>
                <c:pt idx="15">
                  <c:v>873</c:v>
                </c:pt>
                <c:pt idx="16">
                  <c:v>873</c:v>
                </c:pt>
                <c:pt idx="17">
                  <c:v>873</c:v>
                </c:pt>
                <c:pt idx="18">
                  <c:v>873</c:v>
                </c:pt>
                <c:pt idx="19">
                  <c:v>873</c:v>
                </c:pt>
                <c:pt idx="20">
                  <c:v>873</c:v>
                </c:pt>
                <c:pt idx="21">
                  <c:v>873</c:v>
                </c:pt>
                <c:pt idx="22">
                  <c:v>873</c:v>
                </c:pt>
                <c:pt idx="23">
                  <c:v>873</c:v>
                </c:pt>
                <c:pt idx="24">
                  <c:v>873</c:v>
                </c:pt>
                <c:pt idx="25">
                  <c:v>873</c:v>
                </c:pt>
                <c:pt idx="26">
                  <c:v>873</c:v>
                </c:pt>
                <c:pt idx="27">
                  <c:v>873</c:v>
                </c:pt>
                <c:pt idx="28">
                  <c:v>873</c:v>
                </c:pt>
                <c:pt idx="29">
                  <c:v>873</c:v>
                </c:pt>
                <c:pt idx="30">
                  <c:v>873</c:v>
                </c:pt>
                <c:pt idx="31">
                  <c:v>873</c:v>
                </c:pt>
                <c:pt idx="32">
                  <c:v>873</c:v>
                </c:pt>
                <c:pt idx="33">
                  <c:v>873</c:v>
                </c:pt>
                <c:pt idx="34">
                  <c:v>873</c:v>
                </c:pt>
                <c:pt idx="35">
                  <c:v>873</c:v>
                </c:pt>
                <c:pt idx="36">
                  <c:v>873</c:v>
                </c:pt>
                <c:pt idx="37">
                  <c:v>873</c:v>
                </c:pt>
                <c:pt idx="38">
                  <c:v>873</c:v>
                </c:pt>
                <c:pt idx="39">
                  <c:v>873</c:v>
                </c:pt>
                <c:pt idx="40">
                  <c:v>873</c:v>
                </c:pt>
                <c:pt idx="41">
                  <c:v>873</c:v>
                </c:pt>
                <c:pt idx="42">
                  <c:v>873</c:v>
                </c:pt>
                <c:pt idx="43">
                  <c:v>873</c:v>
                </c:pt>
                <c:pt idx="44">
                  <c:v>873</c:v>
                </c:pt>
                <c:pt idx="45">
                  <c:v>873</c:v>
                </c:pt>
                <c:pt idx="46">
                  <c:v>873</c:v>
                </c:pt>
                <c:pt idx="47">
                  <c:v>873</c:v>
                </c:pt>
                <c:pt idx="48">
                  <c:v>873</c:v>
                </c:pt>
                <c:pt idx="49">
                  <c:v>873</c:v>
                </c:pt>
                <c:pt idx="50">
                  <c:v>873</c:v>
                </c:pt>
                <c:pt idx="51">
                  <c:v>873</c:v>
                </c:pt>
                <c:pt idx="52">
                  <c:v>873</c:v>
                </c:pt>
                <c:pt idx="53">
                  <c:v>873</c:v>
                </c:pt>
                <c:pt idx="54">
                  <c:v>873</c:v>
                </c:pt>
                <c:pt idx="55">
                  <c:v>873</c:v>
                </c:pt>
                <c:pt idx="56">
                  <c:v>873</c:v>
                </c:pt>
                <c:pt idx="57">
                  <c:v>873</c:v>
                </c:pt>
                <c:pt idx="58">
                  <c:v>873</c:v>
                </c:pt>
                <c:pt idx="59">
                  <c:v>873</c:v>
                </c:pt>
                <c:pt idx="60">
                  <c:v>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44</c:v>
                </c:pt>
                <c:pt idx="1">
                  <c:v>2184</c:v>
                </c:pt>
                <c:pt idx="2">
                  <c:v>3043</c:v>
                </c:pt>
                <c:pt idx="3">
                  <c:v>3955</c:v>
                </c:pt>
                <c:pt idx="4">
                  <c:v>4856</c:v>
                </c:pt>
                <c:pt idx="5">
                  <c:v>5599</c:v>
                </c:pt>
                <c:pt idx="6">
                  <c:v>6312</c:v>
                </c:pt>
                <c:pt idx="7">
                  <c:v>7348</c:v>
                </c:pt>
                <c:pt idx="8">
                  <c:v>8325</c:v>
                </c:pt>
                <c:pt idx="9">
                  <c:v>9351</c:v>
                </c:pt>
                <c:pt idx="10">
                  <c:v>10279</c:v>
                </c:pt>
                <c:pt idx="11">
                  <c:v>11248</c:v>
                </c:pt>
                <c:pt idx="12">
                  <c:v>11994</c:v>
                </c:pt>
                <c:pt idx="13">
                  <c:v>12646</c:v>
                </c:pt>
                <c:pt idx="14">
                  <c:v>13673</c:v>
                </c:pt>
                <c:pt idx="15">
                  <c:v>14593</c:v>
                </c:pt>
                <c:pt idx="16">
                  <c:v>15464</c:v>
                </c:pt>
                <c:pt idx="17">
                  <c:v>16275</c:v>
                </c:pt>
                <c:pt idx="18">
                  <c:v>17084</c:v>
                </c:pt>
                <c:pt idx="19">
                  <c:v>17642</c:v>
                </c:pt>
                <c:pt idx="20">
                  <c:v>18206</c:v>
                </c:pt>
                <c:pt idx="21">
                  <c:v>19136</c:v>
                </c:pt>
                <c:pt idx="22">
                  <c:v>19900</c:v>
                </c:pt>
                <c:pt idx="23">
                  <c:v>20643</c:v>
                </c:pt>
                <c:pt idx="24">
                  <c:v>21372</c:v>
                </c:pt>
                <c:pt idx="25">
                  <c:v>22080</c:v>
                </c:pt>
                <c:pt idx="26">
                  <c:v>22641</c:v>
                </c:pt>
                <c:pt idx="27">
                  <c:v>23136</c:v>
                </c:pt>
                <c:pt idx="28">
                  <c:v>23924</c:v>
                </c:pt>
                <c:pt idx="29">
                  <c:v>24580</c:v>
                </c:pt>
                <c:pt idx="30">
                  <c:v>25235</c:v>
                </c:pt>
                <c:pt idx="31">
                  <c:v>25854</c:v>
                </c:pt>
                <c:pt idx="32">
                  <c:v>26361</c:v>
                </c:pt>
                <c:pt idx="33">
                  <c:v>26834</c:v>
                </c:pt>
                <c:pt idx="34">
                  <c:v>27279</c:v>
                </c:pt>
                <c:pt idx="35">
                  <c:v>27647</c:v>
                </c:pt>
                <c:pt idx="36">
                  <c:v>28285</c:v>
                </c:pt>
                <c:pt idx="37">
                  <c:v>28803</c:v>
                </c:pt>
                <c:pt idx="38">
                  <c:v>29234</c:v>
                </c:pt>
                <c:pt idx="39">
                  <c:v>29712</c:v>
                </c:pt>
                <c:pt idx="40">
                  <c:v>30016</c:v>
                </c:pt>
                <c:pt idx="41">
                  <c:v>30297</c:v>
                </c:pt>
                <c:pt idx="42">
                  <c:v>30710</c:v>
                </c:pt>
                <c:pt idx="43">
                  <c:v>31085</c:v>
                </c:pt>
                <c:pt idx="44">
                  <c:v>31470</c:v>
                </c:pt>
                <c:pt idx="45">
                  <c:v>31820</c:v>
                </c:pt>
                <c:pt idx="46">
                  <c:v>32161</c:v>
                </c:pt>
                <c:pt idx="47">
                  <c:v>32423</c:v>
                </c:pt>
                <c:pt idx="48">
                  <c:v>32656</c:v>
                </c:pt>
                <c:pt idx="49">
                  <c:v>33006</c:v>
                </c:pt>
                <c:pt idx="50">
                  <c:v>33333</c:v>
                </c:pt>
                <c:pt idx="51">
                  <c:v>33659</c:v>
                </c:pt>
                <c:pt idx="52">
                  <c:v>33913</c:v>
                </c:pt>
                <c:pt idx="53">
                  <c:v>34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5708.460208256773</c:v>
                </c:pt>
                <c:pt idx="32">
                  <c:v>26257.015862633154</c:v>
                </c:pt>
                <c:pt idx="33">
                  <c:v>26785.790999111952</c:v>
                </c:pt>
                <c:pt idx="34">
                  <c:v>27302.079070964843</c:v>
                </c:pt>
                <c:pt idx="35">
                  <c:v>27807.6950001687</c:v>
                </c:pt>
                <c:pt idx="36">
                  <c:v>28299.328298545915</c:v>
                </c:pt>
                <c:pt idx="37">
                  <c:v>28774.68548832641</c:v>
                </c:pt>
                <c:pt idx="38">
                  <c:v>29232.209378803003</c:v>
                </c:pt>
                <c:pt idx="39">
                  <c:v>29671.928137817587</c:v>
                </c:pt>
                <c:pt idx="40">
                  <c:v>30093.395414593659</c:v>
                </c:pt>
                <c:pt idx="41">
                  <c:v>30496.995472462193</c:v>
                </c:pt>
                <c:pt idx="42">
                  <c:v>30882.56203379103</c:v>
                </c:pt>
                <c:pt idx="43">
                  <c:v>31250.238096960042</c:v>
                </c:pt>
                <c:pt idx="44">
                  <c:v>31600.667593698083</c:v>
                </c:pt>
                <c:pt idx="45">
                  <c:v>31934.702449332377</c:v>
                </c:pt>
                <c:pt idx="46">
                  <c:v>32253.104405622922</c:v>
                </c:pt>
                <c:pt idx="47">
                  <c:v>32556.370300425864</c:v>
                </c:pt>
                <c:pt idx="48">
                  <c:v>32845.145902116077</c:v>
                </c:pt>
                <c:pt idx="49">
                  <c:v>33119.994328294852</c:v>
                </c:pt>
                <c:pt idx="50">
                  <c:v>33381.58664709836</c:v>
                </c:pt>
                <c:pt idx="51">
                  <c:v>33630.77154265772</c:v>
                </c:pt>
                <c:pt idx="52">
                  <c:v>33868.215396107786</c:v>
                </c:pt>
                <c:pt idx="53">
                  <c:v>34094.449586682946</c:v>
                </c:pt>
                <c:pt idx="54">
                  <c:v>34309.896703979473</c:v>
                </c:pt>
                <c:pt idx="55">
                  <c:v>34515.049669469961</c:v>
                </c:pt>
                <c:pt idx="56">
                  <c:v>34710.503434277038</c:v>
                </c:pt>
                <c:pt idx="57">
                  <c:v>34896.797249826515</c:v>
                </c:pt>
                <c:pt idx="58">
                  <c:v>35074.457527202045</c:v>
                </c:pt>
                <c:pt idx="59">
                  <c:v>35243.818382151992</c:v>
                </c:pt>
                <c:pt idx="60">
                  <c:v>35405.28846505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5721.252981175785</c:v>
                </c:pt>
                <c:pt idx="32">
                  <c:v>26292.874439363448</c:v>
                </c:pt>
                <c:pt idx="33">
                  <c:v>26851.764857249829</c:v>
                </c:pt>
                <c:pt idx="34">
                  <c:v>27403.240713104897</c:v>
                </c:pt>
                <c:pt idx="35">
                  <c:v>27950.265154822853</c:v>
                </c:pt>
                <c:pt idx="36">
                  <c:v>28490.726172846757</c:v>
                </c:pt>
                <c:pt idx="37">
                  <c:v>29023.179032488821</c:v>
                </c:pt>
                <c:pt idx="38">
                  <c:v>29546.658012334447</c:v>
                </c:pt>
                <c:pt idx="39">
                  <c:v>30059.380090728482</c:v>
                </c:pt>
                <c:pt idx="40">
                  <c:v>30559.901965964542</c:v>
                </c:pt>
                <c:pt idx="41">
                  <c:v>31048.330852792315</c:v>
                </c:pt>
                <c:pt idx="42">
                  <c:v>31524.721100165698</c:v>
                </c:pt>
                <c:pt idx="43">
                  <c:v>31988.902305171796</c:v>
                </c:pt>
                <c:pt idx="44">
                  <c:v>32441.018982046553</c:v>
                </c:pt>
                <c:pt idx="45">
                  <c:v>32881.249215438103</c:v>
                </c:pt>
                <c:pt idx="46">
                  <c:v>33309.615310251327</c:v>
                </c:pt>
                <c:pt idx="47">
                  <c:v>33726.300470558301</c:v>
                </c:pt>
                <c:pt idx="48">
                  <c:v>34131.690170961374</c:v>
                </c:pt>
                <c:pt idx="49">
                  <c:v>34526.063769731816</c:v>
                </c:pt>
                <c:pt idx="50">
                  <c:v>34909.700019097312</c:v>
                </c:pt>
                <c:pt idx="51">
                  <c:v>35282.967528811721</c:v>
                </c:pt>
                <c:pt idx="52">
                  <c:v>35646.191184145006</c:v>
                </c:pt>
                <c:pt idx="53">
                  <c:v>35999.589661618869</c:v>
                </c:pt>
                <c:pt idx="54">
                  <c:v>36343.36997977578</c:v>
                </c:pt>
                <c:pt idx="55">
                  <c:v>36677.803563536938</c:v>
                </c:pt>
                <c:pt idx="56">
                  <c:v>37003.184191545828</c:v>
                </c:pt>
                <c:pt idx="57">
                  <c:v>37319.817465449603</c:v>
                </c:pt>
                <c:pt idx="58">
                  <c:v>37628.018595783549</c:v>
                </c:pt>
                <c:pt idx="59">
                  <c:v>37927.920192041929</c:v>
                </c:pt>
                <c:pt idx="60">
                  <c:v>38219.778062273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5734.04575409479</c:v>
                </c:pt>
                <c:pt idx="32">
                  <c:v>26328.773244939388</c:v>
                </c:pt>
                <c:pt idx="33">
                  <c:v>26917.868176973738</c:v>
                </c:pt>
                <c:pt idx="34">
                  <c:v>27504.593221752199</c:v>
                </c:pt>
                <c:pt idx="35">
                  <c:v>28093.729661422702</c:v>
                </c:pt>
                <c:pt idx="36">
                  <c:v>28684.831379610368</c:v>
                </c:pt>
                <c:pt idx="37">
                  <c:v>29277.712601142426</c:v>
                </c:pt>
                <c:pt idx="38">
                  <c:v>29872.227268437229</c:v>
                </c:pt>
                <c:pt idx="39">
                  <c:v>30464.709584949014</c:v>
                </c:pt>
                <c:pt idx="40">
                  <c:v>31052.717736369734</c:v>
                </c:pt>
                <c:pt idx="41">
                  <c:v>31636.494325500331</c:v>
                </c:pt>
                <c:pt idx="42">
                  <c:v>32216.886783693437</c:v>
                </c:pt>
                <c:pt idx="43">
                  <c:v>32793.852476657928</c:v>
                </c:pt>
                <c:pt idx="44">
                  <c:v>33366.976234508504</c:v>
                </c:pt>
                <c:pt idx="45">
                  <c:v>33935.797689922467</c:v>
                </c:pt>
                <c:pt idx="46">
                  <c:v>34499.763323623374</c:v>
                </c:pt>
                <c:pt idx="47">
                  <c:v>35058.922067447755</c:v>
                </c:pt>
                <c:pt idx="48">
                  <c:v>35613.700186874259</c:v>
                </c:pt>
                <c:pt idx="49">
                  <c:v>36164.292951321491</c:v>
                </c:pt>
                <c:pt idx="50">
                  <c:v>36710.479676014562</c:v>
                </c:pt>
                <c:pt idx="51">
                  <c:v>37252.213967097392</c:v>
                </c:pt>
                <c:pt idx="52">
                  <c:v>37789.570901074032</c:v>
                </c:pt>
                <c:pt idx="53">
                  <c:v>38322.584281503157</c:v>
                </c:pt>
                <c:pt idx="54">
                  <c:v>38851.298965724694</c:v>
                </c:pt>
                <c:pt idx="55">
                  <c:v>39375.76117424851</c:v>
                </c:pt>
                <c:pt idx="56">
                  <c:v>39896.023596894185</c:v>
                </c:pt>
                <c:pt idx="57">
                  <c:v>40412.104898919904</c:v>
                </c:pt>
                <c:pt idx="58">
                  <c:v>40924.111089357182</c:v>
                </c:pt>
                <c:pt idx="59">
                  <c:v>41431.981657575248</c:v>
                </c:pt>
                <c:pt idx="60">
                  <c:v>41935.784977146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5753.275142318955</c:v>
                </c:pt>
                <c:pt idx="32">
                  <c:v>26382.650342775174</c:v>
                </c:pt>
                <c:pt idx="33">
                  <c:v>27016.970826793069</c:v>
                </c:pt>
                <c:pt idx="34">
                  <c:v>27656.493516659604</c:v>
                </c:pt>
                <c:pt idx="35">
                  <c:v>28309.905822296787</c:v>
                </c:pt>
                <c:pt idx="36">
                  <c:v>28980.321531221256</c:v>
                </c:pt>
                <c:pt idx="37">
                  <c:v>29670.02700929717</c:v>
                </c:pt>
                <c:pt idx="38">
                  <c:v>30380.610072886455</c:v>
                </c:pt>
                <c:pt idx="39">
                  <c:v>31105.180083186831</c:v>
                </c:pt>
                <c:pt idx="40">
                  <c:v>31840.456000528196</c:v>
                </c:pt>
                <c:pt idx="41">
                  <c:v>32587.877715226728</c:v>
                </c:pt>
                <c:pt idx="42">
                  <c:v>33350.951368591821</c:v>
                </c:pt>
                <c:pt idx="43">
                  <c:v>34130.30489785313</c:v>
                </c:pt>
                <c:pt idx="44">
                  <c:v>34925.119163168813</c:v>
                </c:pt>
                <c:pt idx="45">
                  <c:v>35734.283576168833</c:v>
                </c:pt>
                <c:pt idx="46">
                  <c:v>36556.868823169141</c:v>
                </c:pt>
                <c:pt idx="47">
                  <c:v>37393.750547494361</c:v>
                </c:pt>
                <c:pt idx="48">
                  <c:v>38246.426405087688</c:v>
                </c:pt>
                <c:pt idx="49">
                  <c:v>39115.578852469756</c:v>
                </c:pt>
                <c:pt idx="50">
                  <c:v>40000.692327242505</c:v>
                </c:pt>
                <c:pt idx="51">
                  <c:v>40901.561328663389</c:v>
                </c:pt>
                <c:pt idx="52">
                  <c:v>41818.378950149148</c:v>
                </c:pt>
                <c:pt idx="53">
                  <c:v>42751.737609661403</c:v>
                </c:pt>
                <c:pt idx="54">
                  <c:v>43702.261816777012</c:v>
                </c:pt>
                <c:pt idx="55">
                  <c:v>44670.322037101912</c:v>
                </c:pt>
                <c:pt idx="56">
                  <c:v>45656.000224454634</c:v>
                </c:pt>
                <c:pt idx="57">
                  <c:v>46659.358972326401</c:v>
                </c:pt>
                <c:pt idx="58">
                  <c:v>47680.713275383976</c:v>
                </c:pt>
                <c:pt idx="59">
                  <c:v>48720.560626472725</c:v>
                </c:pt>
                <c:pt idx="60">
                  <c:v>49779.402757871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8</c:v>
                </c:pt>
                <c:pt idx="1">
                  <c:v>278</c:v>
                </c:pt>
                <c:pt idx="2">
                  <c:v>386</c:v>
                </c:pt>
                <c:pt idx="3">
                  <c:v>484</c:v>
                </c:pt>
                <c:pt idx="4">
                  <c:v>597</c:v>
                </c:pt>
                <c:pt idx="5">
                  <c:v>697</c:v>
                </c:pt>
                <c:pt idx="6">
                  <c:v>781</c:v>
                </c:pt>
                <c:pt idx="7">
                  <c:v>903</c:v>
                </c:pt>
                <c:pt idx="8">
                  <c:v>1024</c:v>
                </c:pt>
                <c:pt idx="9">
                  <c:v>1155</c:v>
                </c:pt>
                <c:pt idx="10">
                  <c:v>1274</c:v>
                </c:pt>
                <c:pt idx="11">
                  <c:v>1384</c:v>
                </c:pt>
                <c:pt idx="12">
                  <c:v>1496</c:v>
                </c:pt>
                <c:pt idx="13">
                  <c:v>1579</c:v>
                </c:pt>
                <c:pt idx="14">
                  <c:v>1705</c:v>
                </c:pt>
                <c:pt idx="15">
                  <c:v>1817</c:v>
                </c:pt>
                <c:pt idx="16">
                  <c:v>1930</c:v>
                </c:pt>
                <c:pt idx="17">
                  <c:v>2028</c:v>
                </c:pt>
                <c:pt idx="18">
                  <c:v>2124</c:v>
                </c:pt>
                <c:pt idx="19">
                  <c:v>2191</c:v>
                </c:pt>
                <c:pt idx="20">
                  <c:v>2281</c:v>
                </c:pt>
                <c:pt idx="21">
                  <c:v>2390</c:v>
                </c:pt>
                <c:pt idx="22">
                  <c:v>2486</c:v>
                </c:pt>
                <c:pt idx="23">
                  <c:v>2572</c:v>
                </c:pt>
                <c:pt idx="24">
                  <c:v>2662</c:v>
                </c:pt>
                <c:pt idx="25">
                  <c:v>2748</c:v>
                </c:pt>
                <c:pt idx="26">
                  <c:v>2822</c:v>
                </c:pt>
                <c:pt idx="27">
                  <c:v>2861</c:v>
                </c:pt>
                <c:pt idx="28">
                  <c:v>2935</c:v>
                </c:pt>
                <c:pt idx="29">
                  <c:v>3011</c:v>
                </c:pt>
                <c:pt idx="30">
                  <c:v>3075</c:v>
                </c:pt>
                <c:pt idx="31">
                  <c:v>3139</c:v>
                </c:pt>
                <c:pt idx="32">
                  <c:v>3195</c:v>
                </c:pt>
                <c:pt idx="33">
                  <c:v>3243</c:v>
                </c:pt>
                <c:pt idx="34">
                  <c:v>3277</c:v>
                </c:pt>
                <c:pt idx="35">
                  <c:v>3334</c:v>
                </c:pt>
                <c:pt idx="36">
                  <c:v>3391</c:v>
                </c:pt>
                <c:pt idx="37">
                  <c:v>3475</c:v>
                </c:pt>
                <c:pt idx="38">
                  <c:v>3530</c:v>
                </c:pt>
                <c:pt idx="39">
                  <c:v>3576</c:v>
                </c:pt>
                <c:pt idx="40">
                  <c:v>3614</c:v>
                </c:pt>
                <c:pt idx="41">
                  <c:v>3645</c:v>
                </c:pt>
                <c:pt idx="42">
                  <c:v>3690</c:v>
                </c:pt>
                <c:pt idx="43">
                  <c:v>3723</c:v>
                </c:pt>
                <c:pt idx="44">
                  <c:v>3776</c:v>
                </c:pt>
                <c:pt idx="45">
                  <c:v>3813</c:v>
                </c:pt>
                <c:pt idx="46">
                  <c:v>3847</c:v>
                </c:pt>
                <c:pt idx="47">
                  <c:v>3870</c:v>
                </c:pt>
                <c:pt idx="48">
                  <c:v>3889</c:v>
                </c:pt>
                <c:pt idx="49">
                  <c:v>3922</c:v>
                </c:pt>
                <c:pt idx="50">
                  <c:v>3960</c:v>
                </c:pt>
                <c:pt idx="51">
                  <c:v>4004</c:v>
                </c:pt>
                <c:pt idx="52">
                  <c:v>4030</c:v>
                </c:pt>
                <c:pt idx="53">
                  <c:v>40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146.3921557584149</c:v>
                </c:pt>
                <c:pt idx="32">
                  <c:v>3219.5879540982346</c:v>
                </c:pt>
                <c:pt idx="33">
                  <c:v>3290.1563052707961</c:v>
                </c:pt>
                <c:pt idx="34">
                  <c:v>3359.0912075066099</c:v>
                </c:pt>
                <c:pt idx="35">
                  <c:v>3426.6563360369755</c:v>
                </c:pt>
                <c:pt idx="36">
                  <c:v>3492.4112382827302</c:v>
                </c:pt>
                <c:pt idx="37">
                  <c:v>3556.023912593253</c:v>
                </c:pt>
                <c:pt idx="38">
                  <c:v>3617.2704952294325</c:v>
                </c:pt>
                <c:pt idx="39">
                  <c:v>3676.148599957105</c:v>
                </c:pt>
                <c:pt idx="40">
                  <c:v>3732.5935080503732</c:v>
                </c:pt>
                <c:pt idx="41">
                  <c:v>3786.6539624664792</c:v>
                </c:pt>
                <c:pt idx="42">
                  <c:v>3838.3025424460393</c:v>
                </c:pt>
                <c:pt idx="43">
                  <c:v>3887.5552472810546</c:v>
                </c:pt>
                <c:pt idx="44">
                  <c:v>3934.5002476477757</c:v>
                </c:pt>
                <c:pt idx="45">
                  <c:v>3979.2467846290006</c:v>
                </c:pt>
                <c:pt idx="46">
                  <c:v>4021.8993998983619</c:v>
                </c:pt>
                <c:pt idx="47">
                  <c:v>4062.5248633794167</c:v>
                </c:pt>
                <c:pt idx="48">
                  <c:v>4101.2111804676106</c:v>
                </c:pt>
                <c:pt idx="49">
                  <c:v>4138.0341100886244</c:v>
                </c:pt>
                <c:pt idx="50">
                  <c:v>4173.080794105269</c:v>
                </c:pt>
                <c:pt idx="51">
                  <c:v>4206.4632979382177</c:v>
                </c:pt>
                <c:pt idx="52">
                  <c:v>4238.271154866633</c:v>
                </c:pt>
                <c:pt idx="53">
                  <c:v>4268.5778740955939</c:v>
                </c:pt>
                <c:pt idx="54">
                  <c:v>4297.4391154982559</c:v>
                </c:pt>
                <c:pt idx="55">
                  <c:v>4324.9215471058797</c:v>
                </c:pt>
                <c:pt idx="56">
                  <c:v>4351.1057467024229</c:v>
                </c:pt>
                <c:pt idx="57">
                  <c:v>4376.0624577618009</c:v>
                </c:pt>
                <c:pt idx="58">
                  <c:v>4399.8614897608659</c:v>
                </c:pt>
                <c:pt idx="59">
                  <c:v>4422.5483436392833</c:v>
                </c:pt>
                <c:pt idx="60">
                  <c:v>4444.1777953619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148.0673335661563</c:v>
                </c:pt>
                <c:pt idx="32">
                  <c:v>3224.2839270127542</c:v>
                </c:pt>
                <c:pt idx="33">
                  <c:v>3298.8004912552115</c:v>
                </c:pt>
                <c:pt idx="34">
                  <c:v>3372.3555597749823</c:v>
                </c:pt>
                <c:pt idx="35">
                  <c:v>3445.366697597246</c:v>
                </c:pt>
                <c:pt idx="36">
                  <c:v>3517.554452490072</c:v>
                </c:pt>
                <c:pt idx="37">
                  <c:v>3588.7011594506139</c:v>
                </c:pt>
                <c:pt idx="38">
                  <c:v>3658.6631929574755</c:v>
                </c:pt>
                <c:pt idx="39">
                  <c:v>3727.2014204967877</c:v>
                </c:pt>
                <c:pt idx="40">
                  <c:v>3794.1201410958547</c:v>
                </c:pt>
                <c:pt idx="41">
                  <c:v>3859.4306631693962</c:v>
                </c:pt>
                <c:pt idx="42">
                  <c:v>3923.1338990931545</c:v>
                </c:pt>
                <c:pt idx="43">
                  <c:v>3985.2039311232938</c:v>
                </c:pt>
                <c:pt idx="44">
                  <c:v>4045.662555947556</c:v>
                </c:pt>
                <c:pt idx="45">
                  <c:v>4104.5292727403885</c:v>
                </c:pt>
                <c:pt idx="46">
                  <c:v>4161.810333017962</c:v>
                </c:pt>
                <c:pt idx="47">
                  <c:v>4217.5302597513164</c:v>
                </c:pt>
                <c:pt idx="48">
                  <c:v>4271.7415666054039</c:v>
                </c:pt>
                <c:pt idx="49">
                  <c:v>4324.4818527563475</c:v>
                </c:pt>
                <c:pt idx="50">
                  <c:v>4375.785697071542</c:v>
                </c:pt>
                <c:pt idx="51">
                  <c:v>4425.7012889798607</c:v>
                </c:pt>
                <c:pt idx="52">
                  <c:v>4474.2722800703268</c:v>
                </c:pt>
                <c:pt idx="53">
                  <c:v>4521.5301995513209</c:v>
                </c:pt>
                <c:pt idx="54">
                  <c:v>4567.5016139669788</c:v>
                </c:pt>
                <c:pt idx="55">
                  <c:v>4612.2233166649412</c:v>
                </c:pt>
                <c:pt idx="56">
                  <c:v>4655.7357742912918</c:v>
                </c:pt>
                <c:pt idx="57">
                  <c:v>4698.0783251867724</c:v>
                </c:pt>
                <c:pt idx="58">
                  <c:v>4739.2924208434706</c:v>
                </c:pt>
                <c:pt idx="59">
                  <c:v>4779.3965109624387</c:v>
                </c:pt>
                <c:pt idx="60">
                  <c:v>4818.4247232496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149.7425113738964</c:v>
                </c:pt>
                <c:pt idx="32">
                  <c:v>3228.9851677820134</c:v>
                </c:pt>
                <c:pt idx="33">
                  <c:v>3307.4616311067352</c:v>
                </c:pt>
                <c:pt idx="34">
                  <c:v>3385.6449220094114</c:v>
                </c:pt>
                <c:pt idx="35">
                  <c:v>3464.1942318338884</c:v>
                </c:pt>
                <c:pt idx="36">
                  <c:v>3543.0523319804302</c:v>
                </c:pt>
                <c:pt idx="37">
                  <c:v>3622.1698335450565</c:v>
                </c:pt>
                <c:pt idx="38">
                  <c:v>3701.5136057133986</c:v>
                </c:pt>
                <c:pt idx="39">
                  <c:v>3780.5989547207942</c:v>
                </c:pt>
                <c:pt idx="40">
                  <c:v>3859.0997312053823</c:v>
                </c:pt>
                <c:pt idx="41">
                  <c:v>3937.0445880364114</c:v>
                </c:pt>
                <c:pt idx="42">
                  <c:v>4014.5385448633638</c:v>
                </c:pt>
                <c:pt idx="43">
                  <c:v>4091.5723302917067</c:v>
                </c:pt>
                <c:pt idx="44">
                  <c:v>4168.0942240598733</c:v>
                </c:pt>
                <c:pt idx="45">
                  <c:v>4244.0392986785373</c:v>
                </c:pt>
                <c:pt idx="46">
                  <c:v>4319.3375320619652</c:v>
                </c:pt>
                <c:pt idx="47">
                  <c:v>4393.995265030866</c:v>
                </c:pt>
                <c:pt idx="48">
                  <c:v>4468.0695432839657</c:v>
                </c:pt>
                <c:pt idx="49">
                  <c:v>4541.5864704289879</c:v>
                </c:pt>
                <c:pt idx="50">
                  <c:v>4614.5144914255643</c:v>
                </c:pt>
                <c:pt idx="51">
                  <c:v>4686.8468089777489</c:v>
                </c:pt>
                <c:pt idx="52">
                  <c:v>4758.5934755653561</c:v>
                </c:pt>
                <c:pt idx="53">
                  <c:v>4829.761071387984</c:v>
                </c:pt>
                <c:pt idx="54">
                  <c:v>4900.3543299762678</c:v>
                </c:pt>
                <c:pt idx="55">
                  <c:v>4970.3799060217561</c:v>
                </c:pt>
                <c:pt idx="56">
                  <c:v>5039.8461921262433</c:v>
                </c:pt>
                <c:pt idx="57">
                  <c:v>5108.7542508101915</c:v>
                </c:pt>
                <c:pt idx="58">
                  <c:v>5177.1175512076152</c:v>
                </c:pt>
                <c:pt idx="59">
                  <c:v>5244.9286669323919</c:v>
                </c:pt>
                <c:pt idx="60">
                  <c:v>5312.196607041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152.2605459402484</c:v>
                </c:pt>
                <c:pt idx="32">
                  <c:v>3236.0408131661561</c:v>
                </c:pt>
                <c:pt idx="33">
                  <c:v>3320.4465018917872</c:v>
                </c:pt>
                <c:pt idx="34">
                  <c:v>3405.5621637616705</c:v>
                </c:pt>
                <c:pt idx="35">
                  <c:v>3492.5637895659283</c:v>
                </c:pt>
                <c:pt idx="36">
                  <c:v>3581.8664652624921</c:v>
                </c:pt>
                <c:pt idx="37">
                  <c:v>3673.7500388032681</c:v>
                </c:pt>
                <c:pt idx="38">
                  <c:v>3768.4139097596535</c:v>
                </c:pt>
                <c:pt idx="39">
                  <c:v>3864.953629864061</c:v>
                </c:pt>
                <c:pt idx="40">
                  <c:v>3962.9350411684231</c:v>
                </c:pt>
                <c:pt idx="41">
                  <c:v>4062.5444689391861</c:v>
                </c:pt>
                <c:pt idx="42">
                  <c:v>4164.2371542293877</c:v>
                </c:pt>
                <c:pt idx="43">
                  <c:v>4268.0932273697399</c:v>
                </c:pt>
                <c:pt idx="44">
                  <c:v>4374.0094570466226</c:v>
                </c:pt>
                <c:pt idx="45">
                  <c:v>4481.8361817870746</c:v>
                </c:pt>
                <c:pt idx="46">
                  <c:v>4591.4545144973818</c:v>
                </c:pt>
                <c:pt idx="47">
                  <c:v>4702.979906880305</c:v>
                </c:pt>
                <c:pt idx="48">
                  <c:v>4816.6102177022294</c:v>
                </c:pt>
                <c:pt idx="49">
                  <c:v>4932.4363989811845</c:v>
                </c:pt>
                <c:pt idx="50">
                  <c:v>5050.3888234493716</c:v>
                </c:pt>
                <c:pt idx="51">
                  <c:v>5170.4405099135311</c:v>
                </c:pt>
                <c:pt idx="52">
                  <c:v>5292.6172286376504</c:v>
                </c:pt>
                <c:pt idx="53">
                  <c:v>5416.999261809623</c:v>
                </c:pt>
                <c:pt idx="54">
                  <c:v>5543.6679798645528</c:v>
                </c:pt>
                <c:pt idx="55">
                  <c:v>5672.6731474843691</c:v>
                </c:pt>
                <c:pt idx="56">
                  <c:v>5804.0278050233946</c:v>
                </c:pt>
                <c:pt idx="57">
                  <c:v>5937.7392321833449</c:v>
                </c:pt>
                <c:pt idx="58">
                  <c:v>6073.8488984137584</c:v>
                </c:pt>
                <c:pt idx="59">
                  <c:v>6212.4230626002036</c:v>
                </c:pt>
                <c:pt idx="60">
                  <c:v>6353.528147919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5</c:v>
                </c:pt>
                <c:pt idx="1">
                  <c:v>206</c:v>
                </c:pt>
                <c:pt idx="2">
                  <c:v>301</c:v>
                </c:pt>
                <c:pt idx="3">
                  <c:v>407</c:v>
                </c:pt>
                <c:pt idx="4">
                  <c:v>503</c:v>
                </c:pt>
                <c:pt idx="5">
                  <c:v>599</c:v>
                </c:pt>
                <c:pt idx="6">
                  <c:v>673</c:v>
                </c:pt>
                <c:pt idx="7">
                  <c:v>799</c:v>
                </c:pt>
                <c:pt idx="8">
                  <c:v>902</c:v>
                </c:pt>
                <c:pt idx="9">
                  <c:v>1034</c:v>
                </c:pt>
                <c:pt idx="10">
                  <c:v>1143</c:v>
                </c:pt>
                <c:pt idx="11">
                  <c:v>1257</c:v>
                </c:pt>
                <c:pt idx="12">
                  <c:v>1354</c:v>
                </c:pt>
                <c:pt idx="13">
                  <c:v>1424</c:v>
                </c:pt>
                <c:pt idx="14">
                  <c:v>1539</c:v>
                </c:pt>
                <c:pt idx="15">
                  <c:v>1638</c:v>
                </c:pt>
                <c:pt idx="16">
                  <c:v>1719</c:v>
                </c:pt>
                <c:pt idx="17">
                  <c:v>1814</c:v>
                </c:pt>
                <c:pt idx="18">
                  <c:v>1899</c:v>
                </c:pt>
                <c:pt idx="19">
                  <c:v>1954</c:v>
                </c:pt>
                <c:pt idx="20">
                  <c:v>2024</c:v>
                </c:pt>
                <c:pt idx="21">
                  <c:v>2108</c:v>
                </c:pt>
                <c:pt idx="22">
                  <c:v>2187</c:v>
                </c:pt>
                <c:pt idx="23">
                  <c:v>2274</c:v>
                </c:pt>
                <c:pt idx="24">
                  <c:v>2334</c:v>
                </c:pt>
                <c:pt idx="25">
                  <c:v>2420</c:v>
                </c:pt>
                <c:pt idx="26">
                  <c:v>2487</c:v>
                </c:pt>
                <c:pt idx="27">
                  <c:v>2526</c:v>
                </c:pt>
                <c:pt idx="28">
                  <c:v>2608</c:v>
                </c:pt>
                <c:pt idx="29">
                  <c:v>2668</c:v>
                </c:pt>
                <c:pt idx="30">
                  <c:v>2719</c:v>
                </c:pt>
                <c:pt idx="31">
                  <c:v>2777</c:v>
                </c:pt>
                <c:pt idx="32">
                  <c:v>2827</c:v>
                </c:pt>
                <c:pt idx="33">
                  <c:v>2866</c:v>
                </c:pt>
                <c:pt idx="34">
                  <c:v>2905</c:v>
                </c:pt>
                <c:pt idx="35">
                  <c:v>2932</c:v>
                </c:pt>
                <c:pt idx="36">
                  <c:v>2977</c:v>
                </c:pt>
                <c:pt idx="37">
                  <c:v>3011</c:v>
                </c:pt>
                <c:pt idx="38">
                  <c:v>3057</c:v>
                </c:pt>
                <c:pt idx="39">
                  <c:v>3105</c:v>
                </c:pt>
                <c:pt idx="40">
                  <c:v>3139</c:v>
                </c:pt>
                <c:pt idx="41">
                  <c:v>3165</c:v>
                </c:pt>
                <c:pt idx="42">
                  <c:v>3191</c:v>
                </c:pt>
                <c:pt idx="43">
                  <c:v>3226</c:v>
                </c:pt>
                <c:pt idx="44">
                  <c:v>3261</c:v>
                </c:pt>
                <c:pt idx="45">
                  <c:v>3287</c:v>
                </c:pt>
                <c:pt idx="46">
                  <c:v>3312</c:v>
                </c:pt>
                <c:pt idx="47">
                  <c:v>3330</c:v>
                </c:pt>
                <c:pt idx="48">
                  <c:v>3353</c:v>
                </c:pt>
                <c:pt idx="49">
                  <c:v>3373</c:v>
                </c:pt>
                <c:pt idx="50">
                  <c:v>3392</c:v>
                </c:pt>
                <c:pt idx="51">
                  <c:v>3414</c:v>
                </c:pt>
                <c:pt idx="52">
                  <c:v>3435</c:v>
                </c:pt>
                <c:pt idx="53">
                  <c:v>3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757.3801108749431</c:v>
                </c:pt>
                <c:pt idx="32">
                  <c:v>2806.614865520437</c:v>
                </c:pt>
                <c:pt idx="33">
                  <c:v>2854.0739656407177</c:v>
                </c:pt>
                <c:pt idx="34">
                  <c:v>2900.4115269573513</c:v>
                </c:pt>
                <c:pt idx="35">
                  <c:v>2945.7899315301056</c:v>
                </c:pt>
                <c:pt idx="36">
                  <c:v>2989.9120211566155</c:v>
                </c:pt>
                <c:pt idx="37">
                  <c:v>3032.5725685002208</c:v>
                </c:pt>
                <c:pt idx="38">
                  <c:v>3073.6321943239818</c:v>
                </c:pt>
                <c:pt idx="39">
                  <c:v>3113.0935735025623</c:v>
                </c:pt>
                <c:pt idx="40">
                  <c:v>3150.9167677335968</c:v>
                </c:pt>
                <c:pt idx="41">
                  <c:v>3187.1363263951425</c:v>
                </c:pt>
                <c:pt idx="42">
                  <c:v>3221.7374504600762</c:v>
                </c:pt>
                <c:pt idx="43">
                  <c:v>3254.7330480991095</c:v>
                </c:pt>
                <c:pt idx="44">
                  <c:v>3286.1808607115854</c:v>
                </c:pt>
                <c:pt idx="45">
                  <c:v>3316.1574574004876</c:v>
                </c:pt>
                <c:pt idx="46">
                  <c:v>3344.7311378726813</c:v>
                </c:pt>
                <c:pt idx="47">
                  <c:v>3371.9464836910133</c:v>
                </c:pt>
                <c:pt idx="48">
                  <c:v>3397.8614108977627</c:v>
                </c:pt>
                <c:pt idx="49">
                  <c:v>3422.5264464273228</c:v>
                </c:pt>
                <c:pt idx="50">
                  <c:v>3446.0018782827583</c:v>
                </c:pt>
                <c:pt idx="51">
                  <c:v>3468.3639068978855</c:v>
                </c:pt>
                <c:pt idx="52">
                  <c:v>3489.6723275709719</c:v>
                </c:pt>
                <c:pt idx="53">
                  <c:v>3509.9747712087178</c:v>
                </c:pt>
                <c:pt idx="54">
                  <c:v>3529.3091840566594</c:v>
                </c:pt>
                <c:pt idx="55">
                  <c:v>3547.719786124384</c:v>
                </c:pt>
                <c:pt idx="56">
                  <c:v>3565.2599478762195</c:v>
                </c:pt>
                <c:pt idx="57">
                  <c:v>3581.9780978903282</c:v>
                </c:pt>
                <c:pt idx="58">
                  <c:v>3597.9214936724093</c:v>
                </c:pt>
                <c:pt idx="59">
                  <c:v>3613.1201013249683</c:v>
                </c:pt>
                <c:pt idx="60">
                  <c:v>3627.6105926961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758.5290656740481</c:v>
                </c:pt>
                <c:pt idx="32">
                  <c:v>2809.8354154473104</c:v>
                </c:pt>
                <c:pt idx="33">
                  <c:v>2859.9991411675442</c:v>
                </c:pt>
                <c:pt idx="34">
                  <c:v>2909.4967193614921</c:v>
                </c:pt>
                <c:pt idx="35">
                  <c:v>2958.5935731269415</c:v>
                </c:pt>
                <c:pt idx="36">
                  <c:v>3007.100085978856</c:v>
                </c:pt>
                <c:pt idx="37">
                  <c:v>3054.8871822649089</c:v>
                </c:pt>
                <c:pt idx="38">
                  <c:v>3101.8685377211013</c:v>
                </c:pt>
                <c:pt idx="39">
                  <c:v>3147.8841490943705</c:v>
                </c:pt>
                <c:pt idx="40">
                  <c:v>3192.8045494942467</c:v>
                </c:pt>
                <c:pt idx="41">
                  <c:v>3236.6394333853323</c:v>
                </c:pt>
                <c:pt idx="42">
                  <c:v>3279.393830138903</c:v>
                </c:pt>
                <c:pt idx="43">
                  <c:v>3321.0525214406448</c:v>
                </c:pt>
                <c:pt idx="44">
                  <c:v>3361.6284179239005</c:v>
                </c:pt>
                <c:pt idx="45">
                  <c:v>3401.1376050896215</c:v>
                </c:pt>
                <c:pt idx="46">
                  <c:v>3439.5820066780229</c:v>
                </c:pt>
                <c:pt idx="47">
                  <c:v>3476.978064036512</c:v>
                </c:pt>
                <c:pt idx="48">
                  <c:v>3513.3603490875703</c:v>
                </c:pt>
                <c:pt idx="49">
                  <c:v>3548.7539274748615</c:v>
                </c:pt>
                <c:pt idx="50">
                  <c:v>3583.1838806303822</c:v>
                </c:pt>
                <c:pt idx="51">
                  <c:v>3616.6833163153929</c:v>
                </c:pt>
                <c:pt idx="52">
                  <c:v>3649.2813869134584</c:v>
                </c:pt>
                <c:pt idx="53">
                  <c:v>3680.9976632750868</c:v>
                </c:pt>
                <c:pt idx="54">
                  <c:v>3711.8507512557717</c:v>
                </c:pt>
                <c:pt idx="55">
                  <c:v>3741.8649984190879</c:v>
                </c:pt>
                <c:pt idx="56">
                  <c:v>3771.0667421640333</c:v>
                </c:pt>
                <c:pt idx="57">
                  <c:v>3799.4834456513372</c:v>
                </c:pt>
                <c:pt idx="58">
                  <c:v>3827.1434146312477</c:v>
                </c:pt>
                <c:pt idx="59">
                  <c:v>3854.0585332318478</c:v>
                </c:pt>
                <c:pt idx="60">
                  <c:v>3880.25176124054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759.6780204731517</c:v>
                </c:pt>
                <c:pt idx="32">
                  <c:v>2813.0595784395891</c:v>
                </c:pt>
                <c:pt idx="33">
                  <c:v>2865.9359439728628</c:v>
                </c:pt>
                <c:pt idx="34">
                  <c:v>2918.5990536270219</c:v>
                </c:pt>
                <c:pt idx="35">
                  <c:v>2971.4775375516301</c:v>
                </c:pt>
                <c:pt idx="36">
                  <c:v>3024.5313003933961</c:v>
                </c:pt>
                <c:pt idx="37">
                  <c:v>3077.7442555535408</c:v>
                </c:pt>
                <c:pt idx="38">
                  <c:v>3131.1036195775418</c:v>
                </c:pt>
                <c:pt idx="39">
                  <c:v>3184.2802684544454</c:v>
                </c:pt>
                <c:pt idx="40">
                  <c:v>3237.0550488184354</c:v>
                </c:pt>
                <c:pt idx="41">
                  <c:v>3289.4498238885544</c:v>
                </c:pt>
                <c:pt idx="42">
                  <c:v>3341.5408458927568</c:v>
                </c:pt>
                <c:pt idx="43">
                  <c:v>3393.324373794625</c:v>
                </c:pt>
                <c:pt idx="44">
                  <c:v>3444.7630568684763</c:v>
                </c:pt>
                <c:pt idx="45">
                  <c:v>3495.8156591080156</c:v>
                </c:pt>
                <c:pt idx="46">
                  <c:v>3546.4324086665597</c:v>
                </c:pt>
                <c:pt idx="47">
                  <c:v>3596.6177018412641</c:v>
                </c:pt>
                <c:pt idx="48">
                  <c:v>3646.4097934234069</c:v>
                </c:pt>
                <c:pt idx="49">
                  <c:v>3695.8262083659583</c:v>
                </c:pt>
                <c:pt idx="50">
                  <c:v>3744.8471897894742</c:v>
                </c:pt>
                <c:pt idx="51">
                  <c:v>3793.4685881739151</c:v>
                </c:pt>
                <c:pt idx="52">
                  <c:v>3841.6971410638603</c:v>
                </c:pt>
                <c:pt idx="53">
                  <c:v>3889.5358330289851</c:v>
                </c:pt>
                <c:pt idx="54">
                  <c:v>3936.988720061504</c:v>
                </c:pt>
                <c:pt idx="55">
                  <c:v>3984.0599389756317</c:v>
                </c:pt>
                <c:pt idx="56">
                  <c:v>4030.7541863441338</c:v>
                </c:pt>
                <c:pt idx="57">
                  <c:v>4077.0731715346119</c:v>
                </c:pt>
                <c:pt idx="58">
                  <c:v>4123.0264253631722</c:v>
                </c:pt>
                <c:pt idx="59">
                  <c:v>4168.6085013264983</c:v>
                </c:pt>
                <c:pt idx="60">
                  <c:v>4213.825538916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761.405065737214</c:v>
                </c:pt>
                <c:pt idx="32">
                  <c:v>2817.8984175429828</c:v>
                </c:pt>
                <c:pt idx="33">
                  <c:v>2874.8364479768093</c:v>
                </c:pt>
                <c:pt idx="34">
                  <c:v>2932.2410164485577</c:v>
                </c:pt>
                <c:pt idx="35">
                  <c:v>2990.8914467791715</c:v>
                </c:pt>
                <c:pt idx="36">
                  <c:v>3051.0672216028711</c:v>
                </c:pt>
                <c:pt idx="37">
                  <c:v>3112.9741525148156</c:v>
                </c:pt>
                <c:pt idx="38">
                  <c:v>3176.7550491921465</c:v>
                </c:pt>
                <c:pt idx="39">
                  <c:v>3241.7910951038411</c:v>
                </c:pt>
                <c:pt idx="40">
                  <c:v>3307.7877186799715</c:v>
                </c:pt>
                <c:pt idx="41">
                  <c:v>3374.8742936153067</c:v>
                </c:pt>
                <c:pt idx="42">
                  <c:v>3443.3658088900884</c:v>
                </c:pt>
                <c:pt idx="43">
                  <c:v>3513.3187113588433</c:v>
                </c:pt>
                <c:pt idx="44">
                  <c:v>3584.659335488946</c:v>
                </c:pt>
                <c:pt idx="45">
                  <c:v>3657.2880372944096</c:v>
                </c:pt>
                <c:pt idx="46">
                  <c:v>3731.1212855606736</c:v>
                </c:pt>
                <c:pt idx="47">
                  <c:v>3806.2377054392573</c:v>
                </c:pt>
                <c:pt idx="48">
                  <c:v>3882.7717639469975</c:v>
                </c:pt>
                <c:pt idx="49">
                  <c:v>3960.7847165435983</c:v>
                </c:pt>
                <c:pt idx="50">
                  <c:v>4040.2303096424675</c:v>
                </c:pt>
                <c:pt idx="51">
                  <c:v>4121.0900883516824</c:v>
                </c:pt>
                <c:pt idx="52">
                  <c:v>4203.381383347054</c:v>
                </c:pt>
                <c:pt idx="53">
                  <c:v>4287.1573367203437</c:v>
                </c:pt>
                <c:pt idx="54">
                  <c:v>4372.4740471532914</c:v>
                </c:pt>
                <c:pt idx="55">
                  <c:v>4459.3647572776845</c:v>
                </c:pt>
                <c:pt idx="56">
                  <c:v>4547.8367724718919</c:v>
                </c:pt>
                <c:pt idx="57">
                  <c:v>4637.8957363211593</c:v>
                </c:pt>
                <c:pt idx="58">
                  <c:v>4729.5699340843021</c:v>
                </c:pt>
                <c:pt idx="59">
                  <c:v>4822.904020400093</c:v>
                </c:pt>
                <c:pt idx="60">
                  <c:v>4917.9430399947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9</c:v>
                </c:pt>
                <c:pt idx="1">
                  <c:v>132</c:v>
                </c:pt>
                <c:pt idx="2">
                  <c:v>195</c:v>
                </c:pt>
                <c:pt idx="3">
                  <c:v>252</c:v>
                </c:pt>
                <c:pt idx="4">
                  <c:v>329</c:v>
                </c:pt>
                <c:pt idx="5">
                  <c:v>383</c:v>
                </c:pt>
                <c:pt idx="6">
                  <c:v>431</c:v>
                </c:pt>
                <c:pt idx="7">
                  <c:v>483</c:v>
                </c:pt>
                <c:pt idx="8">
                  <c:v>550</c:v>
                </c:pt>
                <c:pt idx="9">
                  <c:v>605</c:v>
                </c:pt>
                <c:pt idx="10">
                  <c:v>678</c:v>
                </c:pt>
                <c:pt idx="11">
                  <c:v>737</c:v>
                </c:pt>
                <c:pt idx="12">
                  <c:v>802</c:v>
                </c:pt>
                <c:pt idx="13">
                  <c:v>861</c:v>
                </c:pt>
                <c:pt idx="14">
                  <c:v>937</c:v>
                </c:pt>
                <c:pt idx="15">
                  <c:v>1013</c:v>
                </c:pt>
                <c:pt idx="16">
                  <c:v>1089</c:v>
                </c:pt>
                <c:pt idx="17">
                  <c:v>1154</c:v>
                </c:pt>
                <c:pt idx="18">
                  <c:v>1230</c:v>
                </c:pt>
                <c:pt idx="19">
                  <c:v>1261</c:v>
                </c:pt>
                <c:pt idx="20">
                  <c:v>1296</c:v>
                </c:pt>
                <c:pt idx="21">
                  <c:v>1348</c:v>
                </c:pt>
                <c:pt idx="22">
                  <c:v>1415</c:v>
                </c:pt>
                <c:pt idx="23">
                  <c:v>1461</c:v>
                </c:pt>
                <c:pt idx="24">
                  <c:v>1516</c:v>
                </c:pt>
                <c:pt idx="25">
                  <c:v>1585</c:v>
                </c:pt>
                <c:pt idx="26">
                  <c:v>1629</c:v>
                </c:pt>
                <c:pt idx="27">
                  <c:v>1654</c:v>
                </c:pt>
                <c:pt idx="28">
                  <c:v>1728</c:v>
                </c:pt>
                <c:pt idx="29">
                  <c:v>1783</c:v>
                </c:pt>
                <c:pt idx="30">
                  <c:v>1852</c:v>
                </c:pt>
                <c:pt idx="31">
                  <c:v>1904</c:v>
                </c:pt>
                <c:pt idx="32">
                  <c:v>1947</c:v>
                </c:pt>
                <c:pt idx="33">
                  <c:v>2007</c:v>
                </c:pt>
                <c:pt idx="34">
                  <c:v>2035</c:v>
                </c:pt>
                <c:pt idx="35">
                  <c:v>2065</c:v>
                </c:pt>
                <c:pt idx="36">
                  <c:v>2123</c:v>
                </c:pt>
                <c:pt idx="37">
                  <c:v>2165</c:v>
                </c:pt>
                <c:pt idx="38">
                  <c:v>2206</c:v>
                </c:pt>
                <c:pt idx="39">
                  <c:v>2237</c:v>
                </c:pt>
                <c:pt idx="40">
                  <c:v>2263</c:v>
                </c:pt>
                <c:pt idx="41">
                  <c:v>2286</c:v>
                </c:pt>
                <c:pt idx="42">
                  <c:v>2316</c:v>
                </c:pt>
                <c:pt idx="43">
                  <c:v>2354</c:v>
                </c:pt>
                <c:pt idx="44">
                  <c:v>2381</c:v>
                </c:pt>
                <c:pt idx="45">
                  <c:v>2407</c:v>
                </c:pt>
                <c:pt idx="46">
                  <c:v>2433</c:v>
                </c:pt>
                <c:pt idx="47">
                  <c:v>2451</c:v>
                </c:pt>
                <c:pt idx="48">
                  <c:v>2469</c:v>
                </c:pt>
                <c:pt idx="49">
                  <c:v>2488</c:v>
                </c:pt>
                <c:pt idx="50">
                  <c:v>2512</c:v>
                </c:pt>
                <c:pt idx="51">
                  <c:v>2529</c:v>
                </c:pt>
                <c:pt idx="52">
                  <c:v>2548</c:v>
                </c:pt>
                <c:pt idx="53">
                  <c:v>2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895.5861498298873</c:v>
                </c:pt>
                <c:pt idx="32">
                  <c:v>1939.2702866879135</c:v>
                </c:pt>
                <c:pt idx="33">
                  <c:v>1981.376307993381</c:v>
                </c:pt>
                <c:pt idx="34">
                  <c:v>2022.4799779458438</c:v>
                </c:pt>
                <c:pt idx="35">
                  <c:v>2062.7206095578331</c:v>
                </c:pt>
                <c:pt idx="36">
                  <c:v>2101.8342625381592</c:v>
                </c:pt>
                <c:pt idx="37">
                  <c:v>2139.6445990770626</c:v>
                </c:pt>
                <c:pt idx="38">
                  <c:v>2176.0315149892663</c:v>
                </c:pt>
                <c:pt idx="39">
                  <c:v>2210.9987444921039</c:v>
                </c:pt>
                <c:pt idx="40">
                  <c:v>2244.5119947516469</c:v>
                </c:pt>
                <c:pt idx="41">
                  <c:v>2276.6024806099454</c:v>
                </c:pt>
                <c:pt idx="42">
                  <c:v>2307.2582305787555</c:v>
                </c:pt>
                <c:pt idx="43">
                  <c:v>2336.4913800612453</c:v>
                </c:pt>
                <c:pt idx="44">
                  <c:v>2364.3526628367763</c:v>
                </c:pt>
                <c:pt idx="45">
                  <c:v>2390.9109978871493</c:v>
                </c:pt>
                <c:pt idx="46">
                  <c:v>2416.2263427618823</c:v>
                </c:pt>
                <c:pt idx="47">
                  <c:v>2440.338147792183</c:v>
                </c:pt>
                <c:pt idx="48">
                  <c:v>2463.2973925932656</c:v>
                </c:pt>
                <c:pt idx="49">
                  <c:v>2485.1487704746778</c:v>
                </c:pt>
                <c:pt idx="50">
                  <c:v>2505.9463045099947</c:v>
                </c:pt>
                <c:pt idx="51">
                  <c:v>2525.7578652760758</c:v>
                </c:pt>
                <c:pt idx="52">
                  <c:v>2544.6363705435178</c:v>
                </c:pt>
                <c:pt idx="53">
                  <c:v>2562.6235044072</c:v>
                </c:pt>
                <c:pt idx="54">
                  <c:v>2579.7530963270647</c:v>
                </c:pt>
                <c:pt idx="55">
                  <c:v>2596.0641826713154</c:v>
                </c:pt>
                <c:pt idx="56">
                  <c:v>2611.6038532019024</c:v>
                </c:pt>
                <c:pt idx="57">
                  <c:v>2626.4153449314172</c:v>
                </c:pt>
                <c:pt idx="58">
                  <c:v>2640.5406832219023</c:v>
                </c:pt>
                <c:pt idx="59">
                  <c:v>2654.0062524079249</c:v>
                </c:pt>
                <c:pt idx="60">
                  <c:v>2666.8445350552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896.6126188193314</c:v>
                </c:pt>
                <c:pt idx="32">
                  <c:v>1942.1474188265752</c:v>
                </c:pt>
                <c:pt idx="33">
                  <c:v>1986.6686951136835</c:v>
                </c:pt>
                <c:pt idx="34">
                  <c:v>2030.592754400114</c:v>
                </c:pt>
                <c:pt idx="35">
                  <c:v>2074.1501840051483</c:v>
                </c:pt>
                <c:pt idx="36">
                  <c:v>2117.1722214970682</c:v>
                </c:pt>
                <c:pt idx="37">
                  <c:v>2159.549855115727</c:v>
                </c:pt>
                <c:pt idx="38">
                  <c:v>2201.2097628240595</c:v>
                </c:pt>
                <c:pt idx="39">
                  <c:v>2242.0102493996501</c:v>
                </c:pt>
                <c:pt idx="40">
                  <c:v>2281.8371338562447</c:v>
                </c:pt>
                <c:pt idx="41">
                  <c:v>2320.6996816234073</c:v>
                </c:pt>
                <c:pt idx="42">
                  <c:v>2358.6037591244099</c:v>
                </c:pt>
                <c:pt idx="43">
                  <c:v>2395.5365680655636</c:v>
                </c:pt>
                <c:pt idx="44">
                  <c:v>2431.5090068641407</c:v>
                </c:pt>
                <c:pt idx="45">
                  <c:v>2466.5362917869238</c:v>
                </c:pt>
                <c:pt idx="46">
                  <c:v>2500.6194043069827</c:v>
                </c:pt>
                <c:pt idx="47">
                  <c:v>2533.7729150732962</c:v>
                </c:pt>
                <c:pt idx="48">
                  <c:v>2566.0272596157174</c:v>
                </c:pt>
                <c:pt idx="49">
                  <c:v>2597.4046061136646</c:v>
                </c:pt>
                <c:pt idx="50">
                  <c:v>2627.9277877624208</c:v>
                </c:pt>
                <c:pt idx="51">
                  <c:v>2657.6264003094793</c:v>
                </c:pt>
                <c:pt idx="52">
                  <c:v>2686.5262429099698</c:v>
                </c:pt>
                <c:pt idx="53">
                  <c:v>2714.6441594902672</c:v>
                </c:pt>
                <c:pt idx="54">
                  <c:v>2741.996892353659</c:v>
                </c:pt>
                <c:pt idx="55">
                  <c:v>2768.6059165774404</c:v>
                </c:pt>
                <c:pt idx="56">
                  <c:v>2794.4943198043807</c:v>
                </c:pt>
                <c:pt idx="57">
                  <c:v>2819.6867878055245</c:v>
                </c:pt>
                <c:pt idx="58">
                  <c:v>2844.2085699051127</c:v>
                </c:pt>
                <c:pt idx="59">
                  <c:v>2868.0700432001158</c:v>
                </c:pt>
                <c:pt idx="60">
                  <c:v>2891.2915803050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897.639087808775</c:v>
                </c:pt>
                <c:pt idx="32">
                  <c:v>1945.0277788551402</c:v>
                </c:pt>
                <c:pt idx="33">
                  <c:v>1991.9714696981562</c:v>
                </c:pt>
                <c:pt idx="34">
                  <c:v>2038.7208416267235</c:v>
                </c:pt>
                <c:pt idx="35">
                  <c:v>2085.6515051279198</c:v>
                </c:pt>
                <c:pt idx="36">
                  <c:v>2132.7273760877379</c:v>
                </c:pt>
                <c:pt idx="37">
                  <c:v>2179.9396297673857</c:v>
                </c:pt>
                <c:pt idx="38">
                  <c:v>2227.2799451862506</c:v>
                </c:pt>
                <c:pt idx="39">
                  <c:v>2274.4553181694578</c:v>
                </c:pt>
                <c:pt idx="40">
                  <c:v>2321.2713751054348</c:v>
                </c:pt>
                <c:pt idx="41">
                  <c:v>2367.7483379531918</c:v>
                </c:pt>
                <c:pt idx="42">
                  <c:v>2413.9556466715562</c:v>
                </c:pt>
                <c:pt idx="43">
                  <c:v>2459.8907754176462</c:v>
                </c:pt>
                <c:pt idx="44">
                  <c:v>2505.5197698627453</c:v>
                </c:pt>
                <c:pt idx="45">
                  <c:v>2550.8068177881378</c:v>
                </c:pt>
                <c:pt idx="46">
                  <c:v>2595.7069089385673</c:v>
                </c:pt>
                <c:pt idx="47">
                  <c:v>2640.2239856932974</c:v>
                </c:pt>
                <c:pt idx="48">
                  <c:v>2684.3919529796904</c:v>
                </c:pt>
                <c:pt idx="49">
                  <c:v>2728.2263493752407</c:v>
                </c:pt>
                <c:pt idx="50">
                  <c:v>2771.7101122703712</c:v>
                </c:pt>
                <c:pt idx="51">
                  <c:v>2814.8396943411672</c:v>
                </c:pt>
                <c:pt idx="52">
                  <c:v>2857.6210658610171</c:v>
                </c:pt>
                <c:pt idx="53">
                  <c:v>2900.0564165502592</c:v>
                </c:pt>
                <c:pt idx="54">
                  <c:v>2942.1496224105986</c:v>
                </c:pt>
                <c:pt idx="55">
                  <c:v>2983.9042459528741</c:v>
                </c:pt>
                <c:pt idx="56">
                  <c:v>3025.3241526209713</c:v>
                </c:pt>
                <c:pt idx="57">
                  <c:v>3066.4111753476641</c:v>
                </c:pt>
                <c:pt idx="58">
                  <c:v>3107.1739201907494</c:v>
                </c:pt>
                <c:pt idx="59">
                  <c:v>3147.6074112100714</c:v>
                </c:pt>
                <c:pt idx="60">
                  <c:v>3187.7171210545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899.1820191828442</c:v>
                </c:pt>
                <c:pt idx="32">
                  <c:v>1949.3506366373967</c:v>
                </c:pt>
                <c:pt idx="33">
                  <c:v>1999.9214294665858</c:v>
                </c:pt>
                <c:pt idx="34">
                  <c:v>2050.9026593415042</c:v>
                </c:pt>
                <c:pt idx="35">
                  <c:v>2102.9820705849929</c:v>
                </c:pt>
                <c:pt idx="36">
                  <c:v>2156.4077257568451</c:v>
                </c:pt>
                <c:pt idx="37">
                  <c:v>2211.3678215298423</c:v>
                </c:pt>
                <c:pt idx="38">
                  <c:v>2267.9918289938291</c:v>
                </c:pt>
                <c:pt idx="39">
                  <c:v>2325.7273746386936</c:v>
                </c:pt>
                <c:pt idx="40">
                  <c:v>2384.3122893642994</c:v>
                </c:pt>
                <c:pt idx="41">
                  <c:v>2443.8626471216594</c:v>
                </c:pt>
                <c:pt idx="42">
                  <c:v>2504.6607154640419</c:v>
                </c:pt>
                <c:pt idx="43">
                  <c:v>2566.7573876216456</c:v>
                </c:pt>
                <c:pt idx="44">
                  <c:v>2630.0859587143132</c:v>
                </c:pt>
                <c:pt idx="45">
                  <c:v>2694.5583443155297</c:v>
                </c:pt>
                <c:pt idx="46">
                  <c:v>2760.0992975785357</c:v>
                </c:pt>
                <c:pt idx="47">
                  <c:v>2826.7788871674625</c:v>
                </c:pt>
                <c:pt idx="48">
                  <c:v>2894.7168588734298</c:v>
                </c:pt>
                <c:pt idx="49">
                  <c:v>2963.9675868599443</c:v>
                </c:pt>
                <c:pt idx="50">
                  <c:v>3034.4902167501214</c:v>
                </c:pt>
                <c:pt idx="51">
                  <c:v>3106.2682768725726</c:v>
                </c:pt>
                <c:pt idx="52">
                  <c:v>3179.3171429515405</c:v>
                </c:pt>
                <c:pt idx="53">
                  <c:v>3253.6836927293079</c:v>
                </c:pt>
                <c:pt idx="54">
                  <c:v>3329.4181345717934</c:v>
                </c:pt>
                <c:pt idx="55">
                  <c:v>3406.5498898598662</c:v>
                </c:pt>
                <c:pt idx="56">
                  <c:v>3485.0849741886564</c:v>
                </c:pt>
                <c:pt idx="57">
                  <c:v>3565.0286324009644</c:v>
                </c:pt>
                <c:pt idx="58">
                  <c:v>3646.4060852833236</c:v>
                </c:pt>
                <c:pt idx="59">
                  <c:v>3729.2569805418616</c:v>
                </c:pt>
                <c:pt idx="60">
                  <c:v>3813.62140089005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43</c:v>
                </c:pt>
                <c:pt idx="1">
                  <c:v>1183</c:v>
                </c:pt>
                <c:pt idx="2">
                  <c:v>1167</c:v>
                </c:pt>
                <c:pt idx="3">
                  <c:v>1149</c:v>
                </c:pt>
                <c:pt idx="4">
                  <c:v>1160</c:v>
                </c:pt>
                <c:pt idx="5">
                  <c:v>1138</c:v>
                </c:pt>
                <c:pt idx="6">
                  <c:v>1140</c:v>
                </c:pt>
                <c:pt idx="7">
                  <c:v>1213</c:v>
                </c:pt>
                <c:pt idx="8">
                  <c:v>1208</c:v>
                </c:pt>
                <c:pt idx="9">
                  <c:v>1225</c:v>
                </c:pt>
                <c:pt idx="10">
                  <c:v>1204</c:v>
                </c:pt>
                <c:pt idx="11">
                  <c:v>1197</c:v>
                </c:pt>
                <c:pt idx="12">
                  <c:v>1195</c:v>
                </c:pt>
                <c:pt idx="13">
                  <c:v>1202</c:v>
                </c:pt>
                <c:pt idx="14">
                  <c:v>1265</c:v>
                </c:pt>
                <c:pt idx="15">
                  <c:v>1269</c:v>
                </c:pt>
                <c:pt idx="16">
                  <c:v>1254</c:v>
                </c:pt>
                <c:pt idx="17">
                  <c:v>1215</c:v>
                </c:pt>
                <c:pt idx="18">
                  <c:v>1208</c:v>
                </c:pt>
                <c:pt idx="19">
                  <c:v>1159</c:v>
                </c:pt>
                <c:pt idx="20">
                  <c:v>1169</c:v>
                </c:pt>
                <c:pt idx="21">
                  <c:v>1220</c:v>
                </c:pt>
                <c:pt idx="22">
                  <c:v>1208</c:v>
                </c:pt>
                <c:pt idx="23">
                  <c:v>1159</c:v>
                </c:pt>
                <c:pt idx="24">
                  <c:v>1141</c:v>
                </c:pt>
                <c:pt idx="25">
                  <c:v>1119</c:v>
                </c:pt>
                <c:pt idx="26">
                  <c:v>1059</c:v>
                </c:pt>
                <c:pt idx="27">
                  <c:v>1033</c:v>
                </c:pt>
                <c:pt idx="28">
                  <c:v>1062</c:v>
                </c:pt>
                <c:pt idx="29">
                  <c:v>1054</c:v>
                </c:pt>
                <c:pt idx="30">
                  <c:v>976</c:v>
                </c:pt>
                <c:pt idx="31">
                  <c:v>945</c:v>
                </c:pt>
                <c:pt idx="32">
                  <c:v>762</c:v>
                </c:pt>
                <c:pt idx="33">
                  <c:v>728</c:v>
                </c:pt>
                <c:pt idx="34">
                  <c:v>717</c:v>
                </c:pt>
                <c:pt idx="35">
                  <c:v>755</c:v>
                </c:pt>
                <c:pt idx="36">
                  <c:v>892</c:v>
                </c:pt>
                <c:pt idx="37">
                  <c:v>897</c:v>
                </c:pt>
                <c:pt idx="38">
                  <c:v>828</c:v>
                </c:pt>
                <c:pt idx="39">
                  <c:v>774</c:v>
                </c:pt>
                <c:pt idx="40">
                  <c:v>703</c:v>
                </c:pt>
                <c:pt idx="41">
                  <c:v>678</c:v>
                </c:pt>
                <c:pt idx="42">
                  <c:v>694</c:v>
                </c:pt>
                <c:pt idx="43">
                  <c:v>654</c:v>
                </c:pt>
                <c:pt idx="44">
                  <c:v>617</c:v>
                </c:pt>
                <c:pt idx="45">
                  <c:v>583</c:v>
                </c:pt>
                <c:pt idx="46">
                  <c:v>547</c:v>
                </c:pt>
                <c:pt idx="47">
                  <c:v>512</c:v>
                </c:pt>
                <c:pt idx="48">
                  <c:v>511</c:v>
                </c:pt>
                <c:pt idx="49">
                  <c:v>526</c:v>
                </c:pt>
                <c:pt idx="50">
                  <c:v>520</c:v>
                </c:pt>
                <c:pt idx="51">
                  <c:v>504</c:v>
                </c:pt>
                <c:pt idx="52">
                  <c:v>467</c:v>
                </c:pt>
                <c:pt idx="53">
                  <c:v>41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78.09696215556164</c:v>
                </c:pt>
                <c:pt idx="32">
                  <c:v>954.00010811817492</c:v>
                </c:pt>
                <c:pt idx="33">
                  <c:v>929.45633610883954</c:v>
                </c:pt>
                <c:pt idx="34">
                  <c:v>905.76965220138209</c:v>
                </c:pt>
                <c:pt idx="35">
                  <c:v>882.58062348523367</c:v>
                </c:pt>
                <c:pt idx="36">
                  <c:v>859.48586044207514</c:v>
                </c:pt>
                <c:pt idx="37">
                  <c:v>836.72149211355054</c:v>
                </c:pt>
                <c:pt idx="38">
                  <c:v>813.82919339472096</c:v>
                </c:pt>
                <c:pt idx="39">
                  <c:v>790.44600508259578</c:v>
                </c:pt>
                <c:pt idx="40">
                  <c:v>766.9144332938622</c:v>
                </c:pt>
                <c:pt idx="41">
                  <c:v>743.44929563957214</c:v>
                </c:pt>
                <c:pt idx="42">
                  <c:v>719.69311769094099</c:v>
                </c:pt>
                <c:pt idx="43">
                  <c:v>695.54069993406188</c:v>
                </c:pt>
                <c:pt idx="44">
                  <c:v>671.25504257074749</c:v>
                </c:pt>
                <c:pt idx="45">
                  <c:v>646.99716224413385</c:v>
                </c:pt>
                <c:pt idx="46">
                  <c:v>623.00497548855287</c:v>
                </c:pt>
                <c:pt idx="47">
                  <c:v>599.37423863672927</c:v>
                </c:pt>
                <c:pt idx="48">
                  <c:v>576.08847554887575</c:v>
                </c:pt>
                <c:pt idx="49">
                  <c:v>552.96362557733426</c:v>
                </c:pt>
                <c:pt idx="50">
                  <c:v>530.13297305082381</c:v>
                </c:pt>
                <c:pt idx="51">
                  <c:v>507.8410976283738</c:v>
                </c:pt>
                <c:pt idx="52">
                  <c:v>486.13983768256844</c:v>
                </c:pt>
                <c:pt idx="53">
                  <c:v>465.11980826239733</c:v>
                </c:pt>
                <c:pt idx="54">
                  <c:v>444.7562909629869</c:v>
                </c:pt>
                <c:pt idx="55">
                  <c:v>425.10342280730231</c:v>
                </c:pt>
                <c:pt idx="56">
                  <c:v>406.09130755627484</c:v>
                </c:pt>
                <c:pt idx="57">
                  <c:v>387.7662449523782</c:v>
                </c:pt>
                <c:pt idx="58">
                  <c:v>370.12495773927958</c:v>
                </c:pt>
                <c:pt idx="59">
                  <c:v>353.14229941490396</c:v>
                </c:pt>
                <c:pt idx="60">
                  <c:v>336.85586206071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979.75565549414182</c:v>
                </c:pt>
                <c:pt idx="32">
                  <c:v>958.59678514446819</c:v>
                </c:pt>
                <c:pt idx="33">
                  <c:v>937.79011381460646</c:v>
                </c:pt>
                <c:pt idx="34">
                  <c:v>918.32642706259298</c:v>
                </c:pt>
                <c:pt idx="35">
                  <c:v>899.9496101083098</c:v>
                </c:pt>
                <c:pt idx="36">
                  <c:v>882.36972885258706</c:v>
                </c:pt>
                <c:pt idx="37">
                  <c:v>865.88440977229141</c:v>
                </c:pt>
                <c:pt idx="38">
                  <c:v>850.05135089059218</c:v>
                </c:pt>
                <c:pt idx="39">
                  <c:v>834.2047080933894</c:v>
                </c:pt>
                <c:pt idx="40">
                  <c:v>818.50228811407601</c:v>
                </c:pt>
                <c:pt idx="41">
                  <c:v>803.06532045257813</c:v>
                </c:pt>
                <c:pt idx="42">
                  <c:v>787.49621182684029</c:v>
                </c:pt>
                <c:pt idx="43">
                  <c:v>771.60489567956029</c:v>
                </c:pt>
                <c:pt idx="44">
                  <c:v>755.56980507180742</c:v>
                </c:pt>
                <c:pt idx="45">
                  <c:v>739.45050863336814</c:v>
                </c:pt>
                <c:pt idx="46">
                  <c:v>723.37192532128518</c:v>
                </c:pt>
                <c:pt idx="47">
                  <c:v>707.38266427938925</c:v>
                </c:pt>
                <c:pt idx="48">
                  <c:v>691.43696035581979</c:v>
                </c:pt>
                <c:pt idx="49">
                  <c:v>675.32945421816248</c:v>
                </c:pt>
                <c:pt idx="50">
                  <c:v>659.16307931949382</c:v>
                </c:pt>
                <c:pt idx="51">
                  <c:v>643.1385453583257</c:v>
                </c:pt>
                <c:pt idx="52">
                  <c:v>627.27885734035158</c:v>
                </c:pt>
                <c:pt idx="53">
                  <c:v>611.65586503852649</c:v>
                </c:pt>
                <c:pt idx="54">
                  <c:v>596.25343789513022</c:v>
                </c:pt>
                <c:pt idx="55">
                  <c:v>581.13865972681674</c:v>
                </c:pt>
                <c:pt idx="56">
                  <c:v>566.24233028756339</c:v>
                </c:pt>
                <c:pt idx="57">
                  <c:v>551.61592553071932</c:v>
                </c:pt>
                <c:pt idx="58">
                  <c:v>537.26509046714727</c:v>
                </c:pt>
                <c:pt idx="59">
                  <c:v>523.17467696275207</c:v>
                </c:pt>
                <c:pt idx="60">
                  <c:v>509.40062168913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81.41434883272223</c:v>
                </c:pt>
                <c:pt idx="32">
                  <c:v>963.19867818754926</c:v>
                </c:pt>
                <c:pt idx="33">
                  <c:v>946.1405116186196</c:v>
                </c:pt>
                <c:pt idx="34">
                  <c:v>930.9071878525466</c:v>
                </c:pt>
                <c:pt idx="35">
                  <c:v>917.43277071510897</c:v>
                </c:pt>
                <c:pt idx="36">
                  <c:v>905.59872565224032</c:v>
                </c:pt>
                <c:pt idx="37">
                  <c:v>895.81181032660743</c:v>
                </c:pt>
                <c:pt idx="38">
                  <c:v>887.66675866157891</c:v>
                </c:pt>
                <c:pt idx="39">
                  <c:v>880.17472460367719</c:v>
                </c:pt>
                <c:pt idx="40">
                  <c:v>873.29725987793131</c:v>
                </c:pt>
                <c:pt idx="41">
                  <c:v>867.10387425464398</c:v>
                </c:pt>
                <c:pt idx="42">
                  <c:v>861.21738207696808</c:v>
                </c:pt>
                <c:pt idx="43">
                  <c:v>855.40280768163689</c:v>
                </c:pt>
                <c:pt idx="44">
                  <c:v>849.7258060341187</c:v>
                </c:pt>
                <c:pt idx="45">
                  <c:v>844.12721024333678</c:v>
                </c:pt>
                <c:pt idx="46">
                  <c:v>838.61654642841245</c:v>
                </c:pt>
                <c:pt idx="47">
                  <c:v>833.19423522729176</c:v>
                </c:pt>
                <c:pt idx="48">
                  <c:v>827.79983957256604</c:v>
                </c:pt>
                <c:pt idx="49">
                  <c:v>822.20777197896507</c:v>
                </c:pt>
                <c:pt idx="50">
                  <c:v>816.45193643519065</c:v>
                </c:pt>
                <c:pt idx="51">
                  <c:v>810.67382175999501</c:v>
                </c:pt>
                <c:pt idx="52">
                  <c:v>804.85570850702243</c:v>
                </c:pt>
                <c:pt idx="53">
                  <c:v>799.04383380512832</c:v>
                </c:pt>
                <c:pt idx="54">
                  <c:v>793.21545697996726</c:v>
                </c:pt>
                <c:pt idx="55">
                  <c:v>787.42982782239801</c:v>
                </c:pt>
                <c:pt idx="56">
                  <c:v>781.60673520863361</c:v>
                </c:pt>
                <c:pt idx="57">
                  <c:v>775.7767294362236</c:v>
                </c:pt>
                <c:pt idx="58">
                  <c:v>769.93698204580778</c:v>
                </c:pt>
                <c:pt idx="59">
                  <c:v>764.06768658148383</c:v>
                </c:pt>
                <c:pt idx="60">
                  <c:v>758.22517486317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83.90760485738065</c:v>
                </c:pt>
                <c:pt idx="32">
                  <c:v>970.10509780844734</c:v>
                </c:pt>
                <c:pt idx="33">
                  <c:v>958.65897604134238</c:v>
                </c:pt>
                <c:pt idx="34">
                  <c:v>949.76145806007662</c:v>
                </c:pt>
                <c:pt idx="35">
                  <c:v>943.78485608089068</c:v>
                </c:pt>
                <c:pt idx="36">
                  <c:v>941.00051211035066</c:v>
                </c:pt>
                <c:pt idx="37">
                  <c:v>942.04347755191475</c:v>
                </c:pt>
                <c:pt idx="38">
                  <c:v>946.61317440287417</c:v>
                </c:pt>
                <c:pt idx="39">
                  <c:v>953.16373161155229</c:v>
                </c:pt>
                <c:pt idx="40">
                  <c:v>961.42728322005928</c:v>
                </c:pt>
                <c:pt idx="41">
                  <c:v>971.50129723663326</c:v>
                </c:pt>
                <c:pt idx="42">
                  <c:v>983.20065218330126</c:v>
                </c:pt>
                <c:pt idx="43">
                  <c:v>996.24727152552487</c:v>
                </c:pt>
                <c:pt idx="44">
                  <c:v>1010.5504317889265</c:v>
                </c:pt>
                <c:pt idx="45">
                  <c:v>1025.8637962527491</c:v>
                </c:pt>
                <c:pt idx="46">
                  <c:v>1042.0332918891552</c:v>
                </c:pt>
                <c:pt idx="47">
                  <c:v>1059.0636603286141</c:v>
                </c:pt>
                <c:pt idx="48">
                  <c:v>1076.9428290002322</c:v>
                </c:pt>
                <c:pt idx="49">
                  <c:v>1095.4299759060323</c:v>
                </c:pt>
                <c:pt idx="50">
                  <c:v>1114.4475057089771</c:v>
                </c:pt>
                <c:pt idx="51">
                  <c:v>1134.0381082076706</c:v>
                </c:pt>
                <c:pt idx="52">
                  <c:v>1154.1139582811979</c:v>
                </c:pt>
                <c:pt idx="53">
                  <c:v>1174.7174968815013</c:v>
                </c:pt>
                <c:pt idx="54">
                  <c:v>1195.8490514107634</c:v>
                </c:pt>
                <c:pt idx="55">
                  <c:v>1217.5662952039659</c:v>
                </c:pt>
                <c:pt idx="56">
                  <c:v>1239.7449854368997</c:v>
                </c:pt>
                <c:pt idx="57">
                  <c:v>1262.365951182524</c:v>
                </c:pt>
                <c:pt idx="58">
                  <c:v>1285.4015304595996</c:v>
                </c:pt>
                <c:pt idx="59">
                  <c:v>1308.8564231338655</c:v>
                </c:pt>
                <c:pt idx="60">
                  <c:v>1332.8026788148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65</c:v>
                </c:pt>
                <c:pt idx="1">
                  <c:v>865</c:v>
                </c:pt>
                <c:pt idx="2">
                  <c:v>865</c:v>
                </c:pt>
                <c:pt idx="3">
                  <c:v>865</c:v>
                </c:pt>
                <c:pt idx="4">
                  <c:v>865</c:v>
                </c:pt>
                <c:pt idx="5">
                  <c:v>865</c:v>
                </c:pt>
                <c:pt idx="6">
                  <c:v>865</c:v>
                </c:pt>
                <c:pt idx="7">
                  <c:v>865</c:v>
                </c:pt>
                <c:pt idx="8">
                  <c:v>865</c:v>
                </c:pt>
                <c:pt idx="9">
                  <c:v>865</c:v>
                </c:pt>
                <c:pt idx="10">
                  <c:v>865</c:v>
                </c:pt>
                <c:pt idx="11">
                  <c:v>865</c:v>
                </c:pt>
                <c:pt idx="12">
                  <c:v>865</c:v>
                </c:pt>
                <c:pt idx="13">
                  <c:v>865</c:v>
                </c:pt>
                <c:pt idx="14">
                  <c:v>865</c:v>
                </c:pt>
                <c:pt idx="15">
                  <c:v>865</c:v>
                </c:pt>
                <c:pt idx="16">
                  <c:v>865</c:v>
                </c:pt>
                <c:pt idx="17">
                  <c:v>865</c:v>
                </c:pt>
                <c:pt idx="18">
                  <c:v>865</c:v>
                </c:pt>
                <c:pt idx="19">
                  <c:v>865</c:v>
                </c:pt>
                <c:pt idx="20">
                  <c:v>865</c:v>
                </c:pt>
                <c:pt idx="21">
                  <c:v>865</c:v>
                </c:pt>
                <c:pt idx="22">
                  <c:v>865</c:v>
                </c:pt>
                <c:pt idx="23">
                  <c:v>865</c:v>
                </c:pt>
                <c:pt idx="24">
                  <c:v>865</c:v>
                </c:pt>
                <c:pt idx="25">
                  <c:v>865</c:v>
                </c:pt>
                <c:pt idx="26">
                  <c:v>865</c:v>
                </c:pt>
                <c:pt idx="27">
                  <c:v>865</c:v>
                </c:pt>
                <c:pt idx="28">
                  <c:v>865</c:v>
                </c:pt>
                <c:pt idx="29">
                  <c:v>865</c:v>
                </c:pt>
                <c:pt idx="30">
                  <c:v>865</c:v>
                </c:pt>
                <c:pt idx="31">
                  <c:v>865</c:v>
                </c:pt>
                <c:pt idx="32">
                  <c:v>865</c:v>
                </c:pt>
                <c:pt idx="33">
                  <c:v>865</c:v>
                </c:pt>
                <c:pt idx="34">
                  <c:v>865</c:v>
                </c:pt>
                <c:pt idx="35">
                  <c:v>865</c:v>
                </c:pt>
                <c:pt idx="36">
                  <c:v>865</c:v>
                </c:pt>
                <c:pt idx="37">
                  <c:v>865</c:v>
                </c:pt>
                <c:pt idx="38">
                  <c:v>865</c:v>
                </c:pt>
                <c:pt idx="39">
                  <c:v>865</c:v>
                </c:pt>
                <c:pt idx="40">
                  <c:v>865</c:v>
                </c:pt>
                <c:pt idx="41">
                  <c:v>865</c:v>
                </c:pt>
                <c:pt idx="42">
                  <c:v>865</c:v>
                </c:pt>
                <c:pt idx="43">
                  <c:v>865</c:v>
                </c:pt>
                <c:pt idx="44">
                  <c:v>865</c:v>
                </c:pt>
                <c:pt idx="45">
                  <c:v>865</c:v>
                </c:pt>
                <c:pt idx="46">
                  <c:v>865</c:v>
                </c:pt>
                <c:pt idx="47">
                  <c:v>865</c:v>
                </c:pt>
                <c:pt idx="48">
                  <c:v>865</c:v>
                </c:pt>
                <c:pt idx="49">
                  <c:v>865</c:v>
                </c:pt>
                <c:pt idx="50">
                  <c:v>865</c:v>
                </c:pt>
                <c:pt idx="51">
                  <c:v>865</c:v>
                </c:pt>
                <c:pt idx="52">
                  <c:v>865</c:v>
                </c:pt>
                <c:pt idx="53">
                  <c:v>865</c:v>
                </c:pt>
                <c:pt idx="54">
                  <c:v>865</c:v>
                </c:pt>
                <c:pt idx="55">
                  <c:v>865</c:v>
                </c:pt>
                <c:pt idx="56">
                  <c:v>865</c:v>
                </c:pt>
                <c:pt idx="57">
                  <c:v>865</c:v>
                </c:pt>
                <c:pt idx="58">
                  <c:v>865</c:v>
                </c:pt>
                <c:pt idx="59">
                  <c:v>865</c:v>
                </c:pt>
                <c:pt idx="60">
                  <c:v>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6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3</c:v>
                </c:pt>
                <c:pt idx="1">
                  <c:v>228</c:v>
                </c:pt>
                <c:pt idx="2">
                  <c:v>286</c:v>
                </c:pt>
                <c:pt idx="3">
                  <c:v>359</c:v>
                </c:pt>
                <c:pt idx="4">
                  <c:v>419</c:v>
                </c:pt>
                <c:pt idx="5">
                  <c:v>474</c:v>
                </c:pt>
                <c:pt idx="6">
                  <c:v>550</c:v>
                </c:pt>
                <c:pt idx="7">
                  <c:v>624</c:v>
                </c:pt>
                <c:pt idx="8">
                  <c:v>700</c:v>
                </c:pt>
                <c:pt idx="9">
                  <c:v>786</c:v>
                </c:pt>
                <c:pt idx="10">
                  <c:v>836</c:v>
                </c:pt>
                <c:pt idx="11">
                  <c:v>898</c:v>
                </c:pt>
                <c:pt idx="12">
                  <c:v>961</c:v>
                </c:pt>
                <c:pt idx="13">
                  <c:v>1010</c:v>
                </c:pt>
                <c:pt idx="14">
                  <c:v>1077</c:v>
                </c:pt>
                <c:pt idx="15">
                  <c:v>1141</c:v>
                </c:pt>
                <c:pt idx="16">
                  <c:v>1194</c:v>
                </c:pt>
                <c:pt idx="17">
                  <c:v>1230</c:v>
                </c:pt>
                <c:pt idx="18">
                  <c:v>1275</c:v>
                </c:pt>
                <c:pt idx="19">
                  <c:v>1330</c:v>
                </c:pt>
                <c:pt idx="20">
                  <c:v>1357</c:v>
                </c:pt>
                <c:pt idx="21">
                  <c:v>1415</c:v>
                </c:pt>
                <c:pt idx="22">
                  <c:v>1470</c:v>
                </c:pt>
                <c:pt idx="23">
                  <c:v>1514</c:v>
                </c:pt>
                <c:pt idx="24">
                  <c:v>1557</c:v>
                </c:pt>
                <c:pt idx="25">
                  <c:v>1595</c:v>
                </c:pt>
                <c:pt idx="26">
                  <c:v>1622</c:v>
                </c:pt>
                <c:pt idx="27">
                  <c:v>1647</c:v>
                </c:pt>
                <c:pt idx="28">
                  <c:v>1688</c:v>
                </c:pt>
                <c:pt idx="29">
                  <c:v>1730</c:v>
                </c:pt>
                <c:pt idx="30">
                  <c:v>1776</c:v>
                </c:pt>
                <c:pt idx="31">
                  <c:v>1813</c:v>
                </c:pt>
                <c:pt idx="32">
                  <c:v>1845</c:v>
                </c:pt>
                <c:pt idx="33">
                  <c:v>1871</c:v>
                </c:pt>
                <c:pt idx="34">
                  <c:v>1887</c:v>
                </c:pt>
                <c:pt idx="35">
                  <c:v>1896</c:v>
                </c:pt>
                <c:pt idx="36">
                  <c:v>1929</c:v>
                </c:pt>
                <c:pt idx="37">
                  <c:v>1954</c:v>
                </c:pt>
                <c:pt idx="38">
                  <c:v>1966</c:v>
                </c:pt>
                <c:pt idx="39">
                  <c:v>1984</c:v>
                </c:pt>
                <c:pt idx="40">
                  <c:v>1999</c:v>
                </c:pt>
                <c:pt idx="41">
                  <c:v>2007</c:v>
                </c:pt>
                <c:pt idx="42">
                  <c:v>2023</c:v>
                </c:pt>
                <c:pt idx="43">
                  <c:v>2043</c:v>
                </c:pt>
                <c:pt idx="44">
                  <c:v>2058</c:v>
                </c:pt>
                <c:pt idx="45">
                  <c:v>2070</c:v>
                </c:pt>
                <c:pt idx="46">
                  <c:v>2089</c:v>
                </c:pt>
                <c:pt idx="47">
                  <c:v>2102</c:v>
                </c:pt>
                <c:pt idx="48">
                  <c:v>2113</c:v>
                </c:pt>
                <c:pt idx="49">
                  <c:v>2122</c:v>
                </c:pt>
                <c:pt idx="50">
                  <c:v>2142</c:v>
                </c:pt>
                <c:pt idx="51">
                  <c:v>2156</c:v>
                </c:pt>
                <c:pt idx="52">
                  <c:v>2169</c:v>
                </c:pt>
                <c:pt idx="53">
                  <c:v>2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810.7067402592545</c:v>
                </c:pt>
                <c:pt idx="32">
                  <c:v>1843.963211949356</c:v>
                </c:pt>
                <c:pt idx="33">
                  <c:v>1876.0223416171716</c:v>
                </c:pt>
                <c:pt idx="34">
                  <c:v>1907.3295435217326</c:v>
                </c:pt>
                <c:pt idx="35">
                  <c:v>1937.9982019079848</c:v>
                </c:pt>
                <c:pt idx="36">
                  <c:v>1967.8278160294874</c:v>
                </c:pt>
                <c:pt idx="37">
                  <c:v>1996.6752916632968</c:v>
                </c:pt>
                <c:pt idx="38">
                  <c:v>2024.4437151796894</c:v>
                </c:pt>
                <c:pt idx="39">
                  <c:v>2051.1338359390493</c:v>
                </c:pt>
                <c:pt idx="40">
                  <c:v>2076.7177888695605</c:v>
                </c:pt>
                <c:pt idx="41">
                  <c:v>2101.2184754492864</c:v>
                </c:pt>
                <c:pt idx="42">
                  <c:v>2124.6249987665979</c:v>
                </c:pt>
                <c:pt idx="43">
                  <c:v>2146.9455475852315</c:v>
                </c:pt>
                <c:pt idx="44">
                  <c:v>2168.219511273312</c:v>
                </c:pt>
                <c:pt idx="45">
                  <c:v>2188.4978466569119</c:v>
                </c:pt>
                <c:pt idx="46">
                  <c:v>2207.8271869543</c:v>
                </c:pt>
                <c:pt idx="47">
                  <c:v>2226.2377273023735</c:v>
                </c:pt>
                <c:pt idx="48">
                  <c:v>2243.7689044191061</c:v>
                </c:pt>
                <c:pt idx="49">
                  <c:v>2260.4549543074882</c:v>
                </c:pt>
                <c:pt idx="50">
                  <c:v>2276.3361863303712</c:v>
                </c:pt>
                <c:pt idx="51">
                  <c:v>2291.4638687438528</c:v>
                </c:pt>
                <c:pt idx="52">
                  <c:v>2305.878497257695</c:v>
                </c:pt>
                <c:pt idx="53">
                  <c:v>2319.6126933359847</c:v>
                </c:pt>
                <c:pt idx="54">
                  <c:v>2332.6919631843693</c:v>
                </c:pt>
                <c:pt idx="55">
                  <c:v>2345.1463301163903</c:v>
                </c:pt>
                <c:pt idx="56">
                  <c:v>2357.0120491414559</c:v>
                </c:pt>
                <c:pt idx="57">
                  <c:v>2368.321623818782</c:v>
                </c:pt>
                <c:pt idx="58">
                  <c:v>2379.1069007994092</c:v>
                </c:pt>
                <c:pt idx="59">
                  <c:v>2389.3882792950226</c:v>
                </c:pt>
                <c:pt idx="60">
                  <c:v>2399.1905726625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811.4773478937259</c:v>
                </c:pt>
                <c:pt idx="32">
                  <c:v>1846.1233125445337</c:v>
                </c:pt>
                <c:pt idx="33">
                  <c:v>1879.997251682873</c:v>
                </c:pt>
                <c:pt idx="34">
                  <c:v>1913.4260236112598</c:v>
                </c:pt>
                <c:pt idx="35">
                  <c:v>1946.5927300743908</c:v>
                </c:pt>
                <c:pt idx="36">
                  <c:v>1979.369697608483</c:v>
                </c:pt>
                <c:pt idx="37">
                  <c:v>2011.665456811066</c:v>
                </c:pt>
                <c:pt idx="38">
                  <c:v>2043.4191574731162</c:v>
                </c:pt>
                <c:pt idx="39">
                  <c:v>2074.5225131196248</c:v>
                </c:pt>
                <c:pt idx="40">
                  <c:v>2104.8875368804343</c:v>
                </c:pt>
                <c:pt idx="41">
                  <c:v>2134.5202611974191</c:v>
                </c:pt>
                <c:pt idx="42">
                  <c:v>2163.4229922887548</c:v>
                </c:pt>
                <c:pt idx="43">
                  <c:v>2191.5849034011821</c:v>
                </c:pt>
                <c:pt idx="44">
                  <c:v>2219.0151478060998</c:v>
                </c:pt>
                <c:pt idx="45">
                  <c:v>2245.7238570775717</c:v>
                </c:pt>
                <c:pt idx="46">
                  <c:v>2271.712894271529</c:v>
                </c:pt>
                <c:pt idx="47">
                  <c:v>2296.9933782978237</c:v>
                </c:pt>
                <c:pt idx="48">
                  <c:v>2321.5888469357587</c:v>
                </c:pt>
                <c:pt idx="49">
                  <c:v>2345.5162868587677</c:v>
                </c:pt>
                <c:pt idx="50">
                  <c:v>2368.7921895675449</c:v>
                </c:pt>
                <c:pt idx="51">
                  <c:v>2391.4387469592352</c:v>
                </c:pt>
                <c:pt idx="52">
                  <c:v>2413.4757023083375</c:v>
                </c:pt>
                <c:pt idx="53">
                  <c:v>2434.9166795569067</c:v>
                </c:pt>
                <c:pt idx="54">
                  <c:v>2455.7740645101185</c:v>
                </c:pt>
                <c:pt idx="55">
                  <c:v>2476.0644022960755</c:v>
                </c:pt>
                <c:pt idx="56">
                  <c:v>2495.8057009474815</c:v>
                </c:pt>
                <c:pt idx="57">
                  <c:v>2515.0162632658476</c:v>
                </c:pt>
                <c:pt idx="58">
                  <c:v>2533.715104198372</c:v>
                </c:pt>
                <c:pt idx="59">
                  <c:v>2551.9103810333049</c:v>
                </c:pt>
                <c:pt idx="60">
                  <c:v>2569.617601377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812.2479555281968</c:v>
                </c:pt>
                <c:pt idx="32">
                  <c:v>1848.2858364341589</c:v>
                </c:pt>
                <c:pt idx="33">
                  <c:v>1883.9799604135501</c:v>
                </c:pt>
                <c:pt idx="34">
                  <c:v>1919.5340036445893</c:v>
                </c:pt>
                <c:pt idx="35">
                  <c:v>1955.2411412992831</c:v>
                </c:pt>
                <c:pt idx="36">
                  <c:v>1991.074685787582</c:v>
                </c:pt>
                <c:pt idx="37">
                  <c:v>2027.01953777619</c:v>
                </c:pt>
                <c:pt idx="38">
                  <c:v>2063.0647148911921</c:v>
                </c:pt>
                <c:pt idx="39">
                  <c:v>2098.988669851195</c:v>
                </c:pt>
                <c:pt idx="40">
                  <c:v>2134.6433150687553</c:v>
                </c:pt>
                <c:pt idx="41">
                  <c:v>2170.0427785307497</c:v>
                </c:pt>
                <c:pt idx="42">
                  <c:v>2205.2371797653673</c:v>
                </c:pt>
                <c:pt idx="43">
                  <c:v>2240.2233753182513</c:v>
                </c:pt>
                <c:pt idx="44">
                  <c:v>2274.9767688185093</c:v>
                </c:pt>
                <c:pt idx="45">
                  <c:v>2309.4689045614782</c:v>
                </c:pt>
                <c:pt idx="46">
                  <c:v>2343.6668234143781</c:v>
                </c:pt>
                <c:pt idx="47">
                  <c:v>2377.5734625229115</c:v>
                </c:pt>
                <c:pt idx="48">
                  <c:v>2411.2146905807585</c:v>
                </c:pt>
                <c:pt idx="49">
                  <c:v>2444.6023533981374</c:v>
                </c:pt>
                <c:pt idx="50">
                  <c:v>2477.7227430448675</c:v>
                </c:pt>
                <c:pt idx="51">
                  <c:v>2510.5729522347547</c:v>
                </c:pt>
                <c:pt idx="52">
                  <c:v>2543.1575379387814</c:v>
                </c:pt>
                <c:pt idx="53">
                  <c:v>2575.4788722973749</c:v>
                </c:pt>
                <c:pt idx="54">
                  <c:v>2607.5394795579441</c:v>
                </c:pt>
                <c:pt idx="55">
                  <c:v>2639.3422378644655</c:v>
                </c:pt>
                <c:pt idx="56">
                  <c:v>2670.8905539809803</c:v>
                </c:pt>
                <c:pt idx="57">
                  <c:v>2702.1853367813505</c:v>
                </c:pt>
                <c:pt idx="58">
                  <c:v>2733.2329076838741</c:v>
                </c:pt>
                <c:pt idx="59">
                  <c:v>2764.0296992253384</c:v>
                </c:pt>
                <c:pt idx="60">
                  <c:v>2794.5798387660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813.406290274351</c:v>
                </c:pt>
                <c:pt idx="32">
                  <c:v>1851.5313626974519</c:v>
                </c:pt>
                <c:pt idx="33">
                  <c:v>1889.9508733798236</c:v>
                </c:pt>
                <c:pt idx="34">
                  <c:v>1928.6882383345528</c:v>
                </c:pt>
                <c:pt idx="35">
                  <c:v>1968.2727560538387</c:v>
                </c:pt>
                <c:pt idx="36">
                  <c:v>2008.8931394277363</c:v>
                </c:pt>
                <c:pt idx="37">
                  <c:v>2050.6840657022622</c:v>
                </c:pt>
                <c:pt idx="38">
                  <c:v>2093.7398524845416</c:v>
                </c:pt>
                <c:pt idx="39">
                  <c:v>2137.6450898147395</c:v>
                </c:pt>
                <c:pt idx="40">
                  <c:v>2182.2014311518928</c:v>
                </c:pt>
                <c:pt idx="41">
                  <c:v>2227.4952653190403</c:v>
                </c:pt>
                <c:pt idx="42">
                  <c:v>2273.7371894590342</c:v>
                </c:pt>
                <c:pt idx="43">
                  <c:v>2320.9647021522255</c:v>
                </c:pt>
                <c:pt idx="44">
                  <c:v>2369.1290892144898</c:v>
                </c:pt>
                <c:pt idx="45">
                  <c:v>2418.1627911427868</c:v>
                </c:pt>
                <c:pt idx="46">
                  <c:v>2468.010265485002</c:v>
                </c:pt>
                <c:pt idx="47">
                  <c:v>2518.7243820078738</c:v>
                </c:pt>
                <c:pt idx="48">
                  <c:v>2570.3956282436129</c:v>
                </c:pt>
                <c:pt idx="49">
                  <c:v>2623.0653612143283</c:v>
                </c:pt>
                <c:pt idx="50">
                  <c:v>2676.7021946308018</c:v>
                </c:pt>
                <c:pt idx="51">
                  <c:v>2731.2937384516076</c:v>
                </c:pt>
                <c:pt idx="52">
                  <c:v>2786.8516998607824</c:v>
                </c:pt>
                <c:pt idx="53">
                  <c:v>2843.4121869081882</c:v>
                </c:pt>
                <c:pt idx="54">
                  <c:v>2901.0127551056466</c:v>
                </c:pt>
                <c:pt idx="55">
                  <c:v>2959.6759159159301</c:v>
                </c:pt>
                <c:pt idx="56">
                  <c:v>3019.4069661175363</c:v>
                </c:pt>
                <c:pt idx="57">
                  <c:v>3080.2095332269218</c:v>
                </c:pt>
                <c:pt idx="58">
                  <c:v>3142.1026263970111</c:v>
                </c:pt>
                <c:pt idx="59">
                  <c:v>3205.116387142632</c:v>
                </c:pt>
                <c:pt idx="60">
                  <c:v>3269.2811513959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</c:v>
                </c:pt>
                <c:pt idx="1">
                  <c:v>95</c:v>
                </c:pt>
                <c:pt idx="2">
                  <c:v>123</c:v>
                </c:pt>
                <c:pt idx="3">
                  <c:v>144</c:v>
                </c:pt>
                <c:pt idx="4">
                  <c:v>176</c:v>
                </c:pt>
                <c:pt idx="5">
                  <c:v>210</c:v>
                </c:pt>
                <c:pt idx="6">
                  <c:v>240</c:v>
                </c:pt>
                <c:pt idx="7">
                  <c:v>261</c:v>
                </c:pt>
                <c:pt idx="8">
                  <c:v>286</c:v>
                </c:pt>
                <c:pt idx="9">
                  <c:v>309</c:v>
                </c:pt>
                <c:pt idx="10">
                  <c:v>349</c:v>
                </c:pt>
                <c:pt idx="11">
                  <c:v>366</c:v>
                </c:pt>
                <c:pt idx="12">
                  <c:v>380</c:v>
                </c:pt>
                <c:pt idx="13">
                  <c:v>392</c:v>
                </c:pt>
                <c:pt idx="14">
                  <c:v>416</c:v>
                </c:pt>
                <c:pt idx="15">
                  <c:v>438</c:v>
                </c:pt>
                <c:pt idx="16">
                  <c:v>465</c:v>
                </c:pt>
                <c:pt idx="17">
                  <c:v>481</c:v>
                </c:pt>
                <c:pt idx="18">
                  <c:v>503</c:v>
                </c:pt>
                <c:pt idx="19">
                  <c:v>518</c:v>
                </c:pt>
                <c:pt idx="20">
                  <c:v>529</c:v>
                </c:pt>
                <c:pt idx="21">
                  <c:v>556</c:v>
                </c:pt>
                <c:pt idx="22">
                  <c:v>567</c:v>
                </c:pt>
                <c:pt idx="23">
                  <c:v>581</c:v>
                </c:pt>
                <c:pt idx="24">
                  <c:v>594</c:v>
                </c:pt>
                <c:pt idx="25">
                  <c:v>601</c:v>
                </c:pt>
                <c:pt idx="26">
                  <c:v>611</c:v>
                </c:pt>
                <c:pt idx="27">
                  <c:v>620</c:v>
                </c:pt>
                <c:pt idx="28">
                  <c:v>625</c:v>
                </c:pt>
                <c:pt idx="29">
                  <c:v>632</c:v>
                </c:pt>
                <c:pt idx="30">
                  <c:v>641</c:v>
                </c:pt>
                <c:pt idx="31">
                  <c:v>653</c:v>
                </c:pt>
                <c:pt idx="32">
                  <c:v>658</c:v>
                </c:pt>
                <c:pt idx="33">
                  <c:v>663</c:v>
                </c:pt>
                <c:pt idx="34">
                  <c:v>669</c:v>
                </c:pt>
                <c:pt idx="35">
                  <c:v>674</c:v>
                </c:pt>
                <c:pt idx="36">
                  <c:v>684</c:v>
                </c:pt>
                <c:pt idx="37">
                  <c:v>688</c:v>
                </c:pt>
                <c:pt idx="38">
                  <c:v>698</c:v>
                </c:pt>
                <c:pt idx="39">
                  <c:v>706</c:v>
                </c:pt>
                <c:pt idx="40">
                  <c:v>708</c:v>
                </c:pt>
                <c:pt idx="41">
                  <c:v>711</c:v>
                </c:pt>
                <c:pt idx="42">
                  <c:v>720</c:v>
                </c:pt>
                <c:pt idx="43">
                  <c:v>722</c:v>
                </c:pt>
                <c:pt idx="44">
                  <c:v>726</c:v>
                </c:pt>
                <c:pt idx="45">
                  <c:v>730</c:v>
                </c:pt>
                <c:pt idx="46">
                  <c:v>737</c:v>
                </c:pt>
                <c:pt idx="47">
                  <c:v>743</c:v>
                </c:pt>
                <c:pt idx="48">
                  <c:v>745</c:v>
                </c:pt>
                <c:pt idx="49">
                  <c:v>747</c:v>
                </c:pt>
                <c:pt idx="50">
                  <c:v>751</c:v>
                </c:pt>
                <c:pt idx="51">
                  <c:v>754</c:v>
                </c:pt>
                <c:pt idx="52">
                  <c:v>756</c:v>
                </c:pt>
                <c:pt idx="53">
                  <c:v>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50.30145030177835</c:v>
                </c:pt>
                <c:pt idx="32">
                  <c:v>660.17331706185621</c:v>
                </c:pt>
                <c:pt idx="33">
                  <c:v>669.68813018092999</c:v>
                </c:pt>
                <c:pt idx="34">
                  <c:v>678.97525922399416</c:v>
                </c:pt>
                <c:pt idx="35">
                  <c:v>688.06541834207155</c:v>
                </c:pt>
                <c:pt idx="36">
                  <c:v>696.89891589263095</c:v>
                </c:pt>
                <c:pt idx="37">
                  <c:v>705.43683047769423</c:v>
                </c:pt>
                <c:pt idx="38">
                  <c:v>713.65259513287015</c:v>
                </c:pt>
                <c:pt idx="39">
                  <c:v>721.5472732466651</c:v>
                </c:pt>
                <c:pt idx="40">
                  <c:v>729.11329958257033</c:v>
                </c:pt>
                <c:pt idx="41">
                  <c:v>736.35781856887286</c:v>
                </c:pt>
                <c:pt idx="42">
                  <c:v>743.27831182675993</c:v>
                </c:pt>
                <c:pt idx="43">
                  <c:v>749.8776318350325</c:v>
                </c:pt>
                <c:pt idx="44">
                  <c:v>756.16716323232004</c:v>
                </c:pt>
                <c:pt idx="45">
                  <c:v>762.16263894682959</c:v>
                </c:pt>
                <c:pt idx="46">
                  <c:v>767.87750476844701</c:v>
                </c:pt>
                <c:pt idx="47">
                  <c:v>773.32065882643997</c:v>
                </c:pt>
                <c:pt idx="48">
                  <c:v>778.50355597375005</c:v>
                </c:pt>
                <c:pt idx="49">
                  <c:v>783.43627398103467</c:v>
                </c:pt>
                <c:pt idx="50">
                  <c:v>788.13110692045484</c:v>
                </c:pt>
                <c:pt idx="51">
                  <c:v>792.60343445008311</c:v>
                </c:pt>
                <c:pt idx="52">
                  <c:v>796.86519308794618</c:v>
                </c:pt>
                <c:pt idx="53">
                  <c:v>800.92570965165828</c:v>
                </c:pt>
                <c:pt idx="54">
                  <c:v>804.79265502050089</c:v>
                </c:pt>
                <c:pt idx="55">
                  <c:v>808.47481874639698</c:v>
                </c:pt>
                <c:pt idx="56">
                  <c:v>811.98279975153025</c:v>
                </c:pt>
                <c:pt idx="57">
                  <c:v>815.32641211650252</c:v>
                </c:pt>
                <c:pt idx="58">
                  <c:v>818.5151682681676</c:v>
                </c:pt>
                <c:pt idx="59">
                  <c:v>821.55499779600632</c:v>
                </c:pt>
                <c:pt idx="60">
                  <c:v>824.453232335206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650.53455107346133</c:v>
                </c:pt>
                <c:pt idx="32">
                  <c:v>660.82667087782841</c:v>
                </c:pt>
                <c:pt idx="33">
                  <c:v>670.88979739577223</c:v>
                </c:pt>
                <c:pt idx="34">
                  <c:v>680.81696793657591</c:v>
                </c:pt>
                <c:pt idx="35">
                  <c:v>690.65949886770386</c:v>
                </c:pt>
                <c:pt idx="36">
                  <c:v>700.3791684253066</c:v>
                </c:pt>
                <c:pt idx="37">
                  <c:v>709.95223095805636</c:v>
                </c:pt>
                <c:pt idx="38">
                  <c:v>719.36264444176868</c:v>
                </c:pt>
                <c:pt idx="39">
                  <c:v>728.5784316732346</c:v>
                </c:pt>
                <c:pt idx="40">
                  <c:v>737.5739010199386</c:v>
                </c:pt>
                <c:pt idx="41">
                  <c:v>746.35125339979163</c:v>
                </c:pt>
                <c:pt idx="42">
                  <c:v>754.9120410036187</c:v>
                </c:pt>
                <c:pt idx="43">
                  <c:v>763.25348524952267</c:v>
                </c:pt>
                <c:pt idx="44">
                  <c:v>771.37795919510529</c:v>
                </c:pt>
                <c:pt idx="45">
                  <c:v>779.2890537611338</c:v>
                </c:pt>
                <c:pt idx="46">
                  <c:v>786.98687373537473</c:v>
                </c:pt>
                <c:pt idx="47">
                  <c:v>794.47470907065485</c:v>
                </c:pt>
                <c:pt idx="48">
                  <c:v>801.7593991511169</c:v>
                </c:pt>
                <c:pt idx="49">
                  <c:v>808.84594205322151</c:v>
                </c:pt>
                <c:pt idx="50">
                  <c:v>815.73959114591821</c:v>
                </c:pt>
                <c:pt idx="51">
                  <c:v>822.44707012600077</c:v>
                </c:pt>
                <c:pt idx="52">
                  <c:v>828.97419840926841</c:v>
                </c:pt>
                <c:pt idx="53">
                  <c:v>835.32469846772688</c:v>
                </c:pt>
                <c:pt idx="54">
                  <c:v>841.50239152537279</c:v>
                </c:pt>
                <c:pt idx="55">
                  <c:v>847.51211000015951</c:v>
                </c:pt>
                <c:pt idx="56">
                  <c:v>853.35902605229626</c:v>
                </c:pt>
                <c:pt idx="57">
                  <c:v>859.04876965843641</c:v>
                </c:pt>
                <c:pt idx="58">
                  <c:v>864.58706846141513</c:v>
                </c:pt>
                <c:pt idx="59">
                  <c:v>869.97624053078221</c:v>
                </c:pt>
                <c:pt idx="60">
                  <c:v>875.22088993223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50.7676518451442</c:v>
                </c:pt>
                <c:pt idx="32">
                  <c:v>661.48075771509502</c:v>
                </c:pt>
                <c:pt idx="33">
                  <c:v>672.093823455353</c:v>
                </c:pt>
                <c:pt idx="34">
                  <c:v>682.6621529852597</c:v>
                </c:pt>
                <c:pt idx="35">
                  <c:v>693.26987022090191</c:v>
                </c:pt>
                <c:pt idx="36">
                  <c:v>703.90873866300626</c:v>
                </c:pt>
                <c:pt idx="37">
                  <c:v>714.5776429046216</c:v>
                </c:pt>
                <c:pt idx="38">
                  <c:v>725.27518989452767</c:v>
                </c:pt>
                <c:pt idx="39">
                  <c:v>735.9350068420772</c:v>
                </c:pt>
                <c:pt idx="40">
                  <c:v>746.51318039696218</c:v>
                </c:pt>
                <c:pt idx="41">
                  <c:v>757.01441321790389</c:v>
                </c:pt>
                <c:pt idx="42">
                  <c:v>767.45468535171869</c:v>
                </c:pt>
                <c:pt idx="43">
                  <c:v>777.83355398601395</c:v>
                </c:pt>
                <c:pt idx="44">
                  <c:v>788.14321465111539</c:v>
                </c:pt>
                <c:pt idx="45">
                  <c:v>798.37569939864125</c:v>
                </c:pt>
                <c:pt idx="46">
                  <c:v>808.52069964138786</c:v>
                </c:pt>
                <c:pt idx="47">
                  <c:v>818.57911301770582</c:v>
                </c:pt>
                <c:pt idx="48">
                  <c:v>828.55859547562102</c:v>
                </c:pt>
                <c:pt idx="49">
                  <c:v>838.46265674948813</c:v>
                </c:pt>
                <c:pt idx="50">
                  <c:v>848.28751629841781</c:v>
                </c:pt>
                <c:pt idx="51">
                  <c:v>858.0323941653802</c:v>
                </c:pt>
                <c:pt idx="52">
                  <c:v>867.6986382886314</c:v>
                </c:pt>
                <c:pt idx="53">
                  <c:v>877.28666956952952</c:v>
                </c:pt>
                <c:pt idx="54">
                  <c:v>886.79740864341818</c:v>
                </c:pt>
                <c:pt idx="55">
                  <c:v>896.23164316747511</c:v>
                </c:pt>
                <c:pt idx="56">
                  <c:v>905.59019800876422</c:v>
                </c:pt>
                <c:pt idx="57">
                  <c:v>914.87353839529419</c:v>
                </c:pt>
                <c:pt idx="58">
                  <c:v>924.08363330000157</c:v>
                </c:pt>
                <c:pt idx="59">
                  <c:v>933.21933510433519</c:v>
                </c:pt>
                <c:pt idx="60">
                  <c:v>942.28188461582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51.1180360239631</c:v>
                </c:pt>
                <c:pt idx="32">
                  <c:v>662.46241426249674</c:v>
                </c:pt>
                <c:pt idx="33">
                  <c:v>673.89890781156873</c:v>
                </c:pt>
                <c:pt idx="34">
                  <c:v>685.4275878091803</c:v>
                </c:pt>
                <c:pt idx="35">
                  <c:v>697.20327260162719</c:v>
                </c:pt>
                <c:pt idx="36">
                  <c:v>709.28203430305769</c:v>
                </c:pt>
                <c:pt idx="37">
                  <c:v>721.70730347817334</c:v>
                </c:pt>
                <c:pt idx="38">
                  <c:v>734.50878381135919</c:v>
                </c:pt>
                <c:pt idx="39">
                  <c:v>747.56111265954075</c:v>
                </c:pt>
                <c:pt idx="40">
                  <c:v>760.80491414298592</c:v>
                </c:pt>
                <c:pt idx="41">
                  <c:v>774.26662635324078</c:v>
                </c:pt>
                <c:pt idx="42">
                  <c:v>788.01048691949791</c:v>
                </c:pt>
                <c:pt idx="43">
                  <c:v>802.04812750785709</c:v>
                </c:pt>
                <c:pt idx="44">
                  <c:v>816.36425712659343</c:v>
                </c:pt>
                <c:pt idx="45">
                  <c:v>830.93902277556276</c:v>
                </c:pt>
                <c:pt idx="46">
                  <c:v>845.75523723752769</c:v>
                </c:pt>
                <c:pt idx="47">
                  <c:v>860.82878443788729</c:v>
                </c:pt>
                <c:pt idx="48">
                  <c:v>876.18679557255564</c:v>
                </c:pt>
                <c:pt idx="49">
                  <c:v>891.84156222470017</c:v>
                </c:pt>
                <c:pt idx="50">
                  <c:v>907.78388179488616</c:v>
                </c:pt>
                <c:pt idx="51">
                  <c:v>924.01001626559128</c:v>
                </c:pt>
                <c:pt idx="52">
                  <c:v>940.52344010498803</c:v>
                </c:pt>
                <c:pt idx="53">
                  <c:v>957.3347028072626</c:v>
                </c:pt>
                <c:pt idx="54">
                  <c:v>974.45522062958457</c:v>
                </c:pt>
                <c:pt idx="55">
                  <c:v>991.89163043623307</c:v>
                </c:pt>
                <c:pt idx="56">
                  <c:v>1009.6452164500782</c:v>
                </c:pt>
                <c:pt idx="57">
                  <c:v>1027.7172022260049</c:v>
                </c:pt>
                <c:pt idx="58">
                  <c:v>1046.1133072872783</c:v>
                </c:pt>
                <c:pt idx="59">
                  <c:v>1064.8424957453694</c:v>
                </c:pt>
                <c:pt idx="60">
                  <c:v>1083.9138443555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4</c:v>
                </c:pt>
                <c:pt idx="1">
                  <c:v>209</c:v>
                </c:pt>
                <c:pt idx="2">
                  <c:v>277</c:v>
                </c:pt>
                <c:pt idx="3">
                  <c:v>345</c:v>
                </c:pt>
                <c:pt idx="4">
                  <c:v>433</c:v>
                </c:pt>
                <c:pt idx="5">
                  <c:v>477</c:v>
                </c:pt>
                <c:pt idx="6">
                  <c:v>528</c:v>
                </c:pt>
                <c:pt idx="7">
                  <c:v>633</c:v>
                </c:pt>
                <c:pt idx="8">
                  <c:v>725</c:v>
                </c:pt>
                <c:pt idx="9">
                  <c:v>826</c:v>
                </c:pt>
                <c:pt idx="10">
                  <c:v>918</c:v>
                </c:pt>
                <c:pt idx="11">
                  <c:v>1021</c:v>
                </c:pt>
                <c:pt idx="12">
                  <c:v>1073</c:v>
                </c:pt>
                <c:pt idx="13">
                  <c:v>1118</c:v>
                </c:pt>
                <c:pt idx="14">
                  <c:v>1245</c:v>
                </c:pt>
                <c:pt idx="15">
                  <c:v>1351</c:v>
                </c:pt>
                <c:pt idx="16">
                  <c:v>1440</c:v>
                </c:pt>
                <c:pt idx="17">
                  <c:v>1521</c:v>
                </c:pt>
                <c:pt idx="18">
                  <c:v>1597</c:v>
                </c:pt>
                <c:pt idx="19">
                  <c:v>1663</c:v>
                </c:pt>
                <c:pt idx="20">
                  <c:v>1697</c:v>
                </c:pt>
                <c:pt idx="21">
                  <c:v>1821</c:v>
                </c:pt>
                <c:pt idx="22">
                  <c:v>1893</c:v>
                </c:pt>
                <c:pt idx="23">
                  <c:v>1956</c:v>
                </c:pt>
                <c:pt idx="24">
                  <c:v>2028</c:v>
                </c:pt>
                <c:pt idx="25">
                  <c:v>2087</c:v>
                </c:pt>
                <c:pt idx="26">
                  <c:v>2140</c:v>
                </c:pt>
                <c:pt idx="27">
                  <c:v>2187</c:v>
                </c:pt>
                <c:pt idx="28">
                  <c:v>2295</c:v>
                </c:pt>
                <c:pt idx="29">
                  <c:v>2368</c:v>
                </c:pt>
                <c:pt idx="30">
                  <c:v>2447</c:v>
                </c:pt>
                <c:pt idx="31">
                  <c:v>2512</c:v>
                </c:pt>
                <c:pt idx="32">
                  <c:v>2559</c:v>
                </c:pt>
                <c:pt idx="33">
                  <c:v>2599</c:v>
                </c:pt>
                <c:pt idx="34">
                  <c:v>2636</c:v>
                </c:pt>
                <c:pt idx="35">
                  <c:v>2670</c:v>
                </c:pt>
                <c:pt idx="36">
                  <c:v>2767</c:v>
                </c:pt>
                <c:pt idx="37">
                  <c:v>2804</c:v>
                </c:pt>
                <c:pt idx="38">
                  <c:v>2841</c:v>
                </c:pt>
                <c:pt idx="39">
                  <c:v>2898</c:v>
                </c:pt>
                <c:pt idx="40">
                  <c:v>2923</c:v>
                </c:pt>
                <c:pt idx="41">
                  <c:v>2942</c:v>
                </c:pt>
                <c:pt idx="42">
                  <c:v>2991</c:v>
                </c:pt>
                <c:pt idx="43">
                  <c:v>3029</c:v>
                </c:pt>
                <c:pt idx="44">
                  <c:v>3061</c:v>
                </c:pt>
                <c:pt idx="45">
                  <c:v>3087</c:v>
                </c:pt>
                <c:pt idx="46">
                  <c:v>3120</c:v>
                </c:pt>
                <c:pt idx="47">
                  <c:v>3146</c:v>
                </c:pt>
                <c:pt idx="48">
                  <c:v>3158</c:v>
                </c:pt>
                <c:pt idx="49">
                  <c:v>3204</c:v>
                </c:pt>
                <c:pt idx="50">
                  <c:v>3241</c:v>
                </c:pt>
                <c:pt idx="51">
                  <c:v>3264</c:v>
                </c:pt>
                <c:pt idx="52">
                  <c:v>3286</c:v>
                </c:pt>
                <c:pt idx="53">
                  <c:v>33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494.5908874492166</c:v>
                </c:pt>
                <c:pt idx="32">
                  <c:v>2545.9426476402905</c:v>
                </c:pt>
                <c:pt idx="33">
                  <c:v>2595.4451264770864</c:v>
                </c:pt>
                <c:pt idx="34">
                  <c:v>2643.7853105729214</c:v>
                </c:pt>
                <c:pt idx="35">
                  <c:v>2691.1374683129193</c:v>
                </c:pt>
                <c:pt idx="36">
                  <c:v>2737.1919557026354</c:v>
                </c:pt>
                <c:pt idx="37">
                  <c:v>2781.7287971430587</c:v>
                </c:pt>
                <c:pt idx="38">
                  <c:v>2824.5989525948121</c:v>
                </c:pt>
                <c:pt idx="39">
                  <c:v>2865.8038105424735</c:v>
                </c:pt>
                <c:pt idx="40">
                  <c:v>2905.3005384816206</c:v>
                </c:pt>
                <c:pt idx="41">
                  <c:v>2943.1245941854459</c:v>
                </c:pt>
                <c:pt idx="42">
                  <c:v>2979.2593486686064</c:v>
                </c:pt>
                <c:pt idx="43">
                  <c:v>3013.7175623471762</c:v>
                </c:pt>
                <c:pt idx="44">
                  <c:v>3046.5599721989838</c:v>
                </c:pt>
                <c:pt idx="45">
                  <c:v>3077.8654283200954</c:v>
                </c:pt>
                <c:pt idx="46">
                  <c:v>3107.7058284931932</c:v>
                </c:pt>
                <c:pt idx="47">
                  <c:v>3136.127779543328</c:v>
                </c:pt>
                <c:pt idx="48">
                  <c:v>3163.1921070140252</c:v>
                </c:pt>
                <c:pt idx="49">
                  <c:v>3188.9516518233372</c:v>
                </c:pt>
                <c:pt idx="50">
                  <c:v>3213.4687466149503</c:v>
                </c:pt>
                <c:pt idx="51">
                  <c:v>3236.822599729433</c:v>
                </c:pt>
                <c:pt idx="52">
                  <c:v>3259.0757179499928</c:v>
                </c:pt>
                <c:pt idx="53">
                  <c:v>3280.2783744073577</c:v>
                </c:pt>
                <c:pt idx="54">
                  <c:v>3300.4699809792596</c:v>
                </c:pt>
                <c:pt idx="55">
                  <c:v>3319.6968633347265</c:v>
                </c:pt>
                <c:pt idx="56">
                  <c:v>3338.014958457602</c:v>
                </c:pt>
                <c:pt idx="57">
                  <c:v>3355.4745011207506</c:v>
                </c:pt>
                <c:pt idx="58">
                  <c:v>3372.1246824097143</c:v>
                </c:pt>
                <c:pt idx="59">
                  <c:v>3387.9969664260225</c:v>
                </c:pt>
                <c:pt idx="60">
                  <c:v>3403.1296584563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495.7819907407529</c:v>
                </c:pt>
                <c:pt idx="32">
                  <c:v>2549.2814303701957</c:v>
                </c:pt>
                <c:pt idx="33">
                  <c:v>2601.5888233266569</c:v>
                </c:pt>
                <c:pt idx="34">
                  <c:v>2653.2077787092221</c:v>
                </c:pt>
                <c:pt idx="35">
                  <c:v>2704.4201910987913</c:v>
                </c:pt>
                <c:pt idx="36">
                  <c:v>2755.0288292975192</c:v>
                </c:pt>
                <c:pt idx="37">
                  <c:v>2804.8933913937572</c:v>
                </c:pt>
                <c:pt idx="38">
                  <c:v>2853.9204737892846</c:v>
                </c:pt>
                <c:pt idx="39">
                  <c:v>2901.9429157395039</c:v>
                </c:pt>
                <c:pt idx="40">
                  <c:v>2948.8249728809774</c:v>
                </c:pt>
                <c:pt idx="41">
                  <c:v>2994.5760728665355</c:v>
                </c:pt>
                <c:pt idx="42">
                  <c:v>3039.2000154821653</c:v>
                </c:pt>
                <c:pt idx="43">
                  <c:v>3082.680202749752</c:v>
                </c:pt>
                <c:pt idx="44">
                  <c:v>3125.0306737045776</c:v>
                </c:pt>
                <c:pt idx="45">
                  <c:v>3166.2672331840527</c:v>
                </c:pt>
                <c:pt idx="46">
                  <c:v>3206.3926346234452</c:v>
                </c:pt>
                <c:pt idx="47">
                  <c:v>3245.4240439655782</c:v>
                </c:pt>
                <c:pt idx="48">
                  <c:v>3283.3977656013999</c:v>
                </c:pt>
                <c:pt idx="49">
                  <c:v>3320.340016702276</c:v>
                </c:pt>
                <c:pt idx="50">
                  <c:v>3356.2763605242358</c:v>
                </c:pt>
                <c:pt idx="51">
                  <c:v>3391.2411013582578</c:v>
                </c:pt>
                <c:pt idx="52">
                  <c:v>3425.2647137243894</c:v>
                </c:pt>
                <c:pt idx="53">
                  <c:v>3458.3681460263506</c:v>
                </c:pt>
                <c:pt idx="54">
                  <c:v>3490.5705631417118</c:v>
                </c:pt>
                <c:pt idx="55">
                  <c:v>3521.8974909283706</c:v>
                </c:pt>
                <c:pt idx="56">
                  <c:v>3552.376688131018</c:v>
                </c:pt>
                <c:pt idx="57">
                  <c:v>3582.0364705437132</c:v>
                </c:pt>
                <c:pt idx="58">
                  <c:v>3610.9062223019737</c:v>
                </c:pt>
                <c:pt idx="59">
                  <c:v>3638.9985107479824</c:v>
                </c:pt>
                <c:pt idx="60">
                  <c:v>3666.3372815979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496.9730940322888</c:v>
                </c:pt>
                <c:pt idx="32">
                  <c:v>2552.6239587079349</c:v>
                </c:pt>
                <c:pt idx="33">
                  <c:v>2607.7445742735995</c:v>
                </c:pt>
                <c:pt idx="34">
                  <c:v>2662.6480213101327</c:v>
                </c:pt>
                <c:pt idx="35">
                  <c:v>2717.786196919024</c:v>
                </c:pt>
                <c:pt idx="36">
                  <c:v>2773.1178058910773</c:v>
                </c:pt>
                <c:pt idx="37">
                  <c:v>2828.6204594902752</c:v>
                </c:pt>
                <c:pt idx="38">
                  <c:v>2884.277713382442</c:v>
                </c:pt>
                <c:pt idx="39">
                  <c:v>2939.7473060100674</c:v>
                </c:pt>
                <c:pt idx="40">
                  <c:v>2994.8005857525918</c:v>
                </c:pt>
                <c:pt idx="41">
                  <c:v>3049.4595078466223</c:v>
                </c:pt>
                <c:pt idx="42">
                  <c:v>3103.8017658872022</c:v>
                </c:pt>
                <c:pt idx="43">
                  <c:v>3157.8226409287572</c:v>
                </c:pt>
                <c:pt idx="44">
                  <c:v>3211.4840149125575</c:v>
                </c:pt>
                <c:pt idx="45">
                  <c:v>3264.7420807641943</c:v>
                </c:pt>
                <c:pt idx="46">
                  <c:v>3317.545801399212</c:v>
                </c:pt>
                <c:pt idx="47">
                  <c:v>3369.8997191952521</c:v>
                </c:pt>
                <c:pt idx="48">
                  <c:v>3421.8437720377997</c:v>
                </c:pt>
                <c:pt idx="49">
                  <c:v>3473.3962493890276</c:v>
                </c:pt>
                <c:pt idx="50">
                  <c:v>3524.53606404015</c:v>
                </c:pt>
                <c:pt idx="51">
                  <c:v>3575.2587496612623</c:v>
                </c:pt>
                <c:pt idx="52">
                  <c:v>3625.5713414234738</c:v>
                </c:pt>
                <c:pt idx="53">
                  <c:v>3675.4774242451131</c:v>
                </c:pt>
                <c:pt idx="54">
                  <c:v>3724.9809429935058</c:v>
                </c:pt>
                <c:pt idx="55">
                  <c:v>3774.0863234985818</c:v>
                </c:pt>
                <c:pt idx="56">
                  <c:v>3822.7987749024019</c:v>
                </c:pt>
                <c:pt idx="57">
                  <c:v>3871.1197543838898</c:v>
                </c:pt>
                <c:pt idx="58">
                  <c:v>3919.0590483860674</c:v>
                </c:pt>
                <c:pt idx="59">
                  <c:v>3966.6111239491565</c:v>
                </c:pt>
                <c:pt idx="60">
                  <c:v>4013.78235848849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498.7634945774271</c:v>
                </c:pt>
                <c:pt idx="32">
                  <c:v>2557.6404412923266</c:v>
                </c:pt>
                <c:pt idx="33">
                  <c:v>2616.9733311308623</c:v>
                </c:pt>
                <c:pt idx="34">
                  <c:v>2676.7964281223735</c:v>
                </c:pt>
                <c:pt idx="35">
                  <c:v>2737.9263965727987</c:v>
                </c:pt>
                <c:pt idx="36">
                  <c:v>2800.6546455583875</c:v>
                </c:pt>
                <c:pt idx="37">
                  <c:v>2865.1900820747969</c:v>
                </c:pt>
                <c:pt idx="38">
                  <c:v>2931.6788127105906</c:v>
                </c:pt>
                <c:pt idx="39">
                  <c:v>2999.4788327712786</c:v>
                </c:pt>
                <c:pt idx="40">
                  <c:v>3068.2837355355759</c:v>
                </c:pt>
                <c:pt idx="41">
                  <c:v>3138.2271337114412</c:v>
                </c:pt>
                <c:pt idx="42">
                  <c:v>3209.634687472445</c:v>
                </c:pt>
                <c:pt idx="43">
                  <c:v>3282.5644366071906</c:v>
                </c:pt>
                <c:pt idx="44">
                  <c:v>3356.9409323423324</c:v>
                </c:pt>
                <c:pt idx="45">
                  <c:v>3432.6599105646292</c:v>
                </c:pt>
                <c:pt idx="46">
                  <c:v>3509.6354148382061</c:v>
                </c:pt>
                <c:pt idx="47">
                  <c:v>3587.9491343622476</c:v>
                </c:pt>
                <c:pt idx="48">
                  <c:v>3667.740866658708</c:v>
                </c:pt>
                <c:pt idx="49">
                  <c:v>3749.074475822611</c:v>
                </c:pt>
                <c:pt idx="50">
                  <c:v>3831.9015292679692</c:v>
                </c:pt>
                <c:pt idx="51">
                  <c:v>3916.2028788162625</c:v>
                </c:pt>
                <c:pt idx="52">
                  <c:v>4001.9966014940273</c:v>
                </c:pt>
                <c:pt idx="53">
                  <c:v>4089.3384057658218</c:v>
                </c:pt>
                <c:pt idx="54">
                  <c:v>4178.2863554090991</c:v>
                </c:pt>
                <c:pt idx="55">
                  <c:v>4268.8751981675869</c:v>
                </c:pt>
                <c:pt idx="56">
                  <c:v>4361.1130336033311</c:v>
                </c:pt>
                <c:pt idx="57">
                  <c:v>4455.0055033941408</c:v>
                </c:pt>
                <c:pt idx="58">
                  <c:v>4550.581980967665</c:v>
                </c:pt>
                <c:pt idx="59">
                  <c:v>4647.8890128850653</c:v>
                </c:pt>
                <c:pt idx="60">
                  <c:v>4746.97346102475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3</c:v>
                </c:pt>
                <c:pt idx="1">
                  <c:v>110</c:v>
                </c:pt>
                <c:pt idx="2">
                  <c:v>152</c:v>
                </c:pt>
                <c:pt idx="3">
                  <c:v>209</c:v>
                </c:pt>
                <c:pt idx="4">
                  <c:v>250</c:v>
                </c:pt>
                <c:pt idx="5">
                  <c:v>285</c:v>
                </c:pt>
                <c:pt idx="6">
                  <c:v>332</c:v>
                </c:pt>
                <c:pt idx="7">
                  <c:v>393</c:v>
                </c:pt>
                <c:pt idx="8">
                  <c:v>435</c:v>
                </c:pt>
                <c:pt idx="9">
                  <c:v>476</c:v>
                </c:pt>
                <c:pt idx="10">
                  <c:v>528</c:v>
                </c:pt>
                <c:pt idx="11">
                  <c:v>578</c:v>
                </c:pt>
                <c:pt idx="12">
                  <c:v>617</c:v>
                </c:pt>
                <c:pt idx="13">
                  <c:v>664</c:v>
                </c:pt>
                <c:pt idx="14">
                  <c:v>716</c:v>
                </c:pt>
                <c:pt idx="15">
                  <c:v>759</c:v>
                </c:pt>
                <c:pt idx="16">
                  <c:v>797</c:v>
                </c:pt>
                <c:pt idx="17">
                  <c:v>830</c:v>
                </c:pt>
                <c:pt idx="18">
                  <c:v>868</c:v>
                </c:pt>
                <c:pt idx="19">
                  <c:v>900</c:v>
                </c:pt>
                <c:pt idx="20">
                  <c:v>925</c:v>
                </c:pt>
                <c:pt idx="21">
                  <c:v>957</c:v>
                </c:pt>
                <c:pt idx="22">
                  <c:v>991</c:v>
                </c:pt>
                <c:pt idx="23">
                  <c:v>1039</c:v>
                </c:pt>
                <c:pt idx="24">
                  <c:v>1063</c:v>
                </c:pt>
                <c:pt idx="25">
                  <c:v>1090</c:v>
                </c:pt>
                <c:pt idx="26">
                  <c:v>1108</c:v>
                </c:pt>
                <c:pt idx="27">
                  <c:v>1138</c:v>
                </c:pt>
                <c:pt idx="28">
                  <c:v>1165</c:v>
                </c:pt>
                <c:pt idx="29">
                  <c:v>1186</c:v>
                </c:pt>
                <c:pt idx="30">
                  <c:v>1208</c:v>
                </c:pt>
                <c:pt idx="31">
                  <c:v>1234</c:v>
                </c:pt>
                <c:pt idx="32">
                  <c:v>1264</c:v>
                </c:pt>
                <c:pt idx="33">
                  <c:v>1278</c:v>
                </c:pt>
                <c:pt idx="34">
                  <c:v>1305</c:v>
                </c:pt>
                <c:pt idx="35">
                  <c:v>1314</c:v>
                </c:pt>
                <c:pt idx="36">
                  <c:v>1343</c:v>
                </c:pt>
                <c:pt idx="37">
                  <c:v>1360</c:v>
                </c:pt>
                <c:pt idx="38">
                  <c:v>1380</c:v>
                </c:pt>
                <c:pt idx="39">
                  <c:v>1395</c:v>
                </c:pt>
                <c:pt idx="40">
                  <c:v>1408</c:v>
                </c:pt>
                <c:pt idx="41">
                  <c:v>1420</c:v>
                </c:pt>
                <c:pt idx="42">
                  <c:v>1436</c:v>
                </c:pt>
                <c:pt idx="43">
                  <c:v>1450</c:v>
                </c:pt>
                <c:pt idx="44">
                  <c:v>1465</c:v>
                </c:pt>
                <c:pt idx="45">
                  <c:v>1476</c:v>
                </c:pt>
                <c:pt idx="46">
                  <c:v>1494</c:v>
                </c:pt>
                <c:pt idx="47">
                  <c:v>1500</c:v>
                </c:pt>
                <c:pt idx="48">
                  <c:v>1506</c:v>
                </c:pt>
                <c:pt idx="49">
                  <c:v>1523</c:v>
                </c:pt>
                <c:pt idx="50">
                  <c:v>1532</c:v>
                </c:pt>
                <c:pt idx="51">
                  <c:v>1545</c:v>
                </c:pt>
                <c:pt idx="52">
                  <c:v>1555</c:v>
                </c:pt>
                <c:pt idx="53">
                  <c:v>15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224.6563081512147</c:v>
                </c:pt>
                <c:pt idx="32">
                  <c:v>1247.3273991211133</c:v>
                </c:pt>
                <c:pt idx="33">
                  <c:v>1269.1761164263967</c:v>
                </c:pt>
                <c:pt idx="34">
                  <c:v>1290.4954018075896</c:v>
                </c:pt>
                <c:pt idx="35">
                  <c:v>1311.3514918823632</c:v>
                </c:pt>
                <c:pt idx="36">
                  <c:v>1331.607047147606</c:v>
                </c:pt>
                <c:pt idx="37">
                  <c:v>1351.177876697951</c:v>
                </c:pt>
                <c:pt idx="38">
                  <c:v>1370.0061840836383</c:v>
                </c:pt>
                <c:pt idx="39">
                  <c:v>1388.095640029172</c:v>
                </c:pt>
                <c:pt idx="40">
                  <c:v>1405.4299025165374</c:v>
                </c:pt>
                <c:pt idx="41">
                  <c:v>1422.0258849805077</c:v>
                </c:pt>
                <c:pt idx="42">
                  <c:v>1437.8788503307496</c:v>
                </c:pt>
                <c:pt idx="43">
                  <c:v>1452.9959655170153</c:v>
                </c:pt>
                <c:pt idx="44">
                  <c:v>1467.4029261890219</c:v>
                </c:pt>
                <c:pt idx="45">
                  <c:v>1481.1367502169549</c:v>
                </c:pt>
                <c:pt idx="46">
                  <c:v>1494.2277365588805</c:v>
                </c:pt>
                <c:pt idx="47">
                  <c:v>1506.6962251051852</c:v>
                </c:pt>
                <c:pt idx="48">
                  <c:v>1518.5681548028206</c:v>
                </c:pt>
                <c:pt idx="49">
                  <c:v>1529.8665456279391</c:v>
                </c:pt>
                <c:pt idx="50">
                  <c:v>1540.6201114645226</c:v>
                </c:pt>
                <c:pt idx="51">
                  <c:v>1550.8644077007589</c:v>
                </c:pt>
                <c:pt idx="52">
                  <c:v>1560.626723887503</c:v>
                </c:pt>
                <c:pt idx="53">
                  <c:v>1569.9279584710589</c:v>
                </c:pt>
                <c:pt idx="54">
                  <c:v>1578.785873418813</c:v>
                </c:pt>
                <c:pt idx="55">
                  <c:v>1587.2204751556442</c:v>
                </c:pt>
                <c:pt idx="56">
                  <c:v>1595.2558662932618</c:v>
                </c:pt>
                <c:pt idx="57">
                  <c:v>1602.9148273132057</c:v>
                </c:pt>
                <c:pt idx="58">
                  <c:v>1610.2192901141598</c:v>
                </c:pt>
                <c:pt idx="59">
                  <c:v>1617.1826885293835</c:v>
                </c:pt>
                <c:pt idx="60">
                  <c:v>1623.8218102834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225.1979923423121</c:v>
                </c:pt>
                <c:pt idx="32">
                  <c:v>1248.8455981224645</c:v>
                </c:pt>
                <c:pt idx="33">
                  <c:v>1271.9675685904845</c:v>
                </c:pt>
                <c:pt idx="34">
                  <c:v>1294.7717415782445</c:v>
                </c:pt>
                <c:pt idx="35">
                  <c:v>1317.3715319017649</c:v>
                </c:pt>
                <c:pt idx="36">
                  <c:v>1339.6786898655967</c:v>
                </c:pt>
                <c:pt idx="37">
                  <c:v>1361.6436591155689</c:v>
                </c:pt>
                <c:pt idx="38">
                  <c:v>1383.2325509128816</c:v>
                </c:pt>
                <c:pt idx="39">
                  <c:v>1404.3721718882171</c:v>
                </c:pt>
                <c:pt idx="40">
                  <c:v>1425.0041433108752</c:v>
                </c:pt>
                <c:pt idx="41">
                  <c:v>1445.1341190298065</c:v>
                </c:pt>
                <c:pt idx="42">
                  <c:v>1464.7669312769881</c:v>
                </c:pt>
                <c:pt idx="43">
                  <c:v>1483.8968348165308</c:v>
                </c:pt>
                <c:pt idx="44">
                  <c:v>1502.5287768735711</c:v>
                </c:pt>
                <c:pt idx="45">
                  <c:v>1520.6718565521419</c:v>
                </c:pt>
                <c:pt idx="46">
                  <c:v>1538.3256596238075</c:v>
                </c:pt>
                <c:pt idx="47">
                  <c:v>1555.4977261102131</c:v>
                </c:pt>
                <c:pt idx="48">
                  <c:v>1572.2035472841349</c:v>
                </c:pt>
                <c:pt idx="49">
                  <c:v>1588.4545367477756</c:v>
                </c:pt>
                <c:pt idx="50">
                  <c:v>1604.2632821176417</c:v>
                </c:pt>
                <c:pt idx="51">
                  <c:v>1619.6454236513475</c:v>
                </c:pt>
                <c:pt idx="52">
                  <c:v>1634.6142656690758</c:v>
                </c:pt>
                <c:pt idx="53">
                  <c:v>1649.1778870100043</c:v>
                </c:pt>
                <c:pt idx="54">
                  <c:v>1663.3452745320194</c:v>
                </c:pt>
                <c:pt idx="55">
                  <c:v>1677.1274108611465</c:v>
                </c:pt>
                <c:pt idx="56">
                  <c:v>1690.535920779836</c:v>
                </c:pt>
                <c:pt idx="57">
                  <c:v>1703.5840214911818</c:v>
                </c:pt>
                <c:pt idx="58">
                  <c:v>1716.2849883375991</c:v>
                </c:pt>
                <c:pt idx="59">
                  <c:v>1728.643993863745</c:v>
                </c:pt>
                <c:pt idx="60">
                  <c:v>1740.6716126094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225.7396765334092</c:v>
                </c:pt>
                <c:pt idx="32">
                  <c:v>1250.3655005332212</c:v>
                </c:pt>
                <c:pt idx="33">
                  <c:v>1274.7645020408706</c:v>
                </c:pt>
                <c:pt idx="34">
                  <c:v>1299.0561564631307</c:v>
                </c:pt>
                <c:pt idx="35">
                  <c:v>1323.4294170615769</c:v>
                </c:pt>
                <c:pt idx="36">
                  <c:v>1347.8649088816542</c:v>
                </c:pt>
                <c:pt idx="37">
                  <c:v>1372.364989041118</c:v>
                </c:pt>
                <c:pt idx="38">
                  <c:v>1396.9291859579969</c:v>
                </c:pt>
                <c:pt idx="39">
                  <c:v>1421.4041830280282</c:v>
                </c:pt>
                <c:pt idx="40">
                  <c:v>1445.6891974915213</c:v>
                </c:pt>
                <c:pt idx="41">
                  <c:v>1469.7957726680274</c:v>
                </c:pt>
                <c:pt idx="42">
                  <c:v>1493.7622181014783</c:v>
                </c:pt>
                <c:pt idx="43">
                  <c:v>1517.5882331685566</c:v>
                </c:pt>
                <c:pt idx="44">
                  <c:v>1541.2551593552641</c:v>
                </c:pt>
                <c:pt idx="45">
                  <c:v>1564.7453975901237</c:v>
                </c:pt>
                <c:pt idx="46">
                  <c:v>1588.0345068446982</c:v>
                </c:pt>
                <c:pt idx="47">
                  <c:v>1611.1245862336264</c:v>
                </c:pt>
                <c:pt idx="48">
                  <c:v>1634.0331844157749</c:v>
                </c:pt>
                <c:pt idx="49">
                  <c:v>1656.7683520045944</c:v>
                </c:pt>
                <c:pt idx="50">
                  <c:v>1679.3218283897108</c:v>
                </c:pt>
                <c:pt idx="51">
                  <c:v>1701.6919436973446</c:v>
                </c:pt>
                <c:pt idx="52">
                  <c:v>1723.8817865681121</c:v>
                </c:pt>
                <c:pt idx="53">
                  <c:v>1745.8919097978767</c:v>
                </c:pt>
                <c:pt idx="54">
                  <c:v>1767.7246779789439</c:v>
                </c:pt>
                <c:pt idx="55">
                  <c:v>1789.3818025569913</c:v>
                </c:pt>
                <c:pt idx="56">
                  <c:v>1810.8649055425331</c:v>
                </c:pt>
                <c:pt idx="57">
                  <c:v>1832.1753408799825</c:v>
                </c:pt>
                <c:pt idx="58">
                  <c:v>1853.3177655561344</c:v>
                </c:pt>
                <c:pt idx="59">
                  <c:v>1874.289414506221</c:v>
                </c:pt>
                <c:pt idx="60">
                  <c:v>1895.09316013837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226.5539062294606</c:v>
                </c:pt>
                <c:pt idx="32">
                  <c:v>1252.6465769121394</c:v>
                </c:pt>
                <c:pt idx="33">
                  <c:v>1278.9576809337461</c:v>
                </c:pt>
                <c:pt idx="34">
                  <c:v>1305.4773305297679</c:v>
                </c:pt>
                <c:pt idx="35">
                  <c:v>1332.5577128857303</c:v>
                </c:pt>
                <c:pt idx="36">
                  <c:v>1360.3276792041929</c:v>
                </c:pt>
                <c:pt idx="37">
                  <c:v>1388.8920139694999</c:v>
                </c:pt>
                <c:pt idx="38">
                  <c:v>1418.3214257752234</c:v>
                </c:pt>
                <c:pt idx="39">
                  <c:v>1448.325016706541</c:v>
                </c:pt>
                <c:pt idx="40">
                  <c:v>1478.7656995097109</c:v>
                </c:pt>
                <c:pt idx="41">
                  <c:v>1509.7053507946941</c:v>
                </c:pt>
                <c:pt idx="42">
                  <c:v>1541.2940131071757</c:v>
                </c:pt>
                <c:pt idx="43">
                  <c:v>1573.5591303061387</c:v>
                </c:pt>
                <c:pt idx="44">
                  <c:v>1606.4643725181948</c:v>
                </c:pt>
                <c:pt idx="45">
                  <c:v>1639.9644408619527</c:v>
                </c:pt>
                <c:pt idx="46">
                  <c:v>1674.0188416382007</c:v>
                </c:pt>
                <c:pt idx="47">
                  <c:v>1708.6643304876629</c:v>
                </c:pt>
                <c:pt idx="48">
                  <c:v>1743.9636108462892</c:v>
                </c:pt>
                <c:pt idx="49">
                  <c:v>1779.9449328962662</c:v>
                </c:pt>
                <c:pt idx="50">
                  <c:v>1816.5873292728375</c:v>
                </c:pt>
                <c:pt idx="51">
                  <c:v>1853.8821276055899</c:v>
                </c:pt>
                <c:pt idx="52">
                  <c:v>1891.8373061139266</c:v>
                </c:pt>
                <c:pt idx="53">
                  <c:v>1930.4768454161717</c:v>
                </c:pt>
                <c:pt idx="54">
                  <c:v>1969.8273552770931</c:v>
                </c:pt>
                <c:pt idx="55">
                  <c:v>2009.9040110897108</c:v>
                </c:pt>
                <c:pt idx="56">
                  <c:v>2050.7093412425129</c:v>
                </c:pt>
                <c:pt idx="57">
                  <c:v>2092.246370088918</c:v>
                </c:pt>
                <c:pt idx="58">
                  <c:v>2134.5283449747294</c:v>
                </c:pt>
                <c:pt idx="59">
                  <c:v>2177.5758769748672</c:v>
                </c:pt>
                <c:pt idx="60">
                  <c:v>2221.40991611081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7</c:v>
                </c:pt>
                <c:pt idx="1">
                  <c:v>105</c:v>
                </c:pt>
                <c:pt idx="2">
                  <c:v>157</c:v>
                </c:pt>
                <c:pt idx="3">
                  <c:v>212</c:v>
                </c:pt>
                <c:pt idx="4">
                  <c:v>261</c:v>
                </c:pt>
                <c:pt idx="5">
                  <c:v>306</c:v>
                </c:pt>
                <c:pt idx="6">
                  <c:v>347</c:v>
                </c:pt>
                <c:pt idx="7">
                  <c:v>394</c:v>
                </c:pt>
                <c:pt idx="8">
                  <c:v>449</c:v>
                </c:pt>
                <c:pt idx="9">
                  <c:v>495</c:v>
                </c:pt>
                <c:pt idx="10">
                  <c:v>531</c:v>
                </c:pt>
                <c:pt idx="11">
                  <c:v>580</c:v>
                </c:pt>
                <c:pt idx="12">
                  <c:v>610</c:v>
                </c:pt>
                <c:pt idx="13">
                  <c:v>637</c:v>
                </c:pt>
                <c:pt idx="14">
                  <c:v>671</c:v>
                </c:pt>
                <c:pt idx="15">
                  <c:v>706</c:v>
                </c:pt>
                <c:pt idx="16">
                  <c:v>744</c:v>
                </c:pt>
                <c:pt idx="17">
                  <c:v>782</c:v>
                </c:pt>
                <c:pt idx="18">
                  <c:v>811</c:v>
                </c:pt>
                <c:pt idx="19">
                  <c:v>834</c:v>
                </c:pt>
                <c:pt idx="20">
                  <c:v>858</c:v>
                </c:pt>
                <c:pt idx="21">
                  <c:v>891</c:v>
                </c:pt>
                <c:pt idx="22">
                  <c:v>909</c:v>
                </c:pt>
                <c:pt idx="23">
                  <c:v>936</c:v>
                </c:pt>
                <c:pt idx="24">
                  <c:v>962</c:v>
                </c:pt>
                <c:pt idx="25">
                  <c:v>991</c:v>
                </c:pt>
                <c:pt idx="26">
                  <c:v>1018</c:v>
                </c:pt>
                <c:pt idx="27">
                  <c:v>1041</c:v>
                </c:pt>
                <c:pt idx="28">
                  <c:v>1061</c:v>
                </c:pt>
                <c:pt idx="29">
                  <c:v>1085</c:v>
                </c:pt>
                <c:pt idx="30">
                  <c:v>1101</c:v>
                </c:pt>
                <c:pt idx="31">
                  <c:v>1124</c:v>
                </c:pt>
                <c:pt idx="32">
                  <c:v>1141</c:v>
                </c:pt>
                <c:pt idx="33">
                  <c:v>1157</c:v>
                </c:pt>
                <c:pt idx="34">
                  <c:v>1167</c:v>
                </c:pt>
                <c:pt idx="35">
                  <c:v>1181</c:v>
                </c:pt>
                <c:pt idx="36">
                  <c:v>1205</c:v>
                </c:pt>
                <c:pt idx="37">
                  <c:v>1221</c:v>
                </c:pt>
                <c:pt idx="38">
                  <c:v>1230</c:v>
                </c:pt>
                <c:pt idx="39">
                  <c:v>1241</c:v>
                </c:pt>
                <c:pt idx="40">
                  <c:v>1252</c:v>
                </c:pt>
                <c:pt idx="41">
                  <c:v>1257</c:v>
                </c:pt>
                <c:pt idx="42">
                  <c:v>1260</c:v>
                </c:pt>
                <c:pt idx="43">
                  <c:v>1267</c:v>
                </c:pt>
                <c:pt idx="44">
                  <c:v>1278</c:v>
                </c:pt>
                <c:pt idx="45">
                  <c:v>1288</c:v>
                </c:pt>
                <c:pt idx="46">
                  <c:v>1294</c:v>
                </c:pt>
                <c:pt idx="47">
                  <c:v>1303</c:v>
                </c:pt>
                <c:pt idx="48">
                  <c:v>1307</c:v>
                </c:pt>
                <c:pt idx="49">
                  <c:v>1312</c:v>
                </c:pt>
                <c:pt idx="50">
                  <c:v>1318</c:v>
                </c:pt>
                <c:pt idx="51">
                  <c:v>1323</c:v>
                </c:pt>
                <c:pt idx="52">
                  <c:v>1326</c:v>
                </c:pt>
                <c:pt idx="53">
                  <c:v>1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123.5300167920138</c:v>
                </c:pt>
                <c:pt idx="32">
                  <c:v>1147.0372015103846</c:v>
                </c:pt>
                <c:pt idx="33">
                  <c:v>1169.6939716518418</c:v>
                </c:pt>
                <c:pt idx="34">
                  <c:v>1191.808058728197</c:v>
                </c:pt>
                <c:pt idx="35">
                  <c:v>1213.4522620561911</c:v>
                </c:pt>
                <c:pt idx="36">
                  <c:v>1234.4844220124432</c:v>
                </c:pt>
                <c:pt idx="37">
                  <c:v>1254.8122662431374</c:v>
                </c:pt>
                <c:pt idx="38">
                  <c:v>1274.372785584919</c:v>
                </c:pt>
                <c:pt idx="39">
                  <c:v>1293.1686088359011</c:v>
                </c:pt>
                <c:pt idx="40">
                  <c:v>1311.1818025764194</c:v>
                </c:pt>
                <c:pt idx="41">
                  <c:v>1328.4294191280735</c:v>
                </c:pt>
                <c:pt idx="42">
                  <c:v>1344.9055439512831</c:v>
                </c:pt>
                <c:pt idx="43">
                  <c:v>1360.6170179101907</c:v>
                </c:pt>
                <c:pt idx="44">
                  <c:v>1375.5909150899258</c:v>
                </c:pt>
                <c:pt idx="45">
                  <c:v>1389.8647689411771</c:v>
                </c:pt>
                <c:pt idx="46">
                  <c:v>1403.4705513845927</c:v>
                </c:pt>
                <c:pt idx="47">
                  <c:v>1416.4294434423855</c:v>
                </c:pt>
                <c:pt idx="48">
                  <c:v>1428.7686928488149</c:v>
                </c:pt>
                <c:pt idx="49">
                  <c:v>1440.5122873425739</c:v>
                </c:pt>
                <c:pt idx="50">
                  <c:v>1451.6895396953075</c:v>
                </c:pt>
                <c:pt idx="51">
                  <c:v>1462.3370909272733</c:v>
                </c:pt>
                <c:pt idx="52">
                  <c:v>1472.4833549524958</c:v>
                </c:pt>
                <c:pt idx="53">
                  <c:v>1482.1505001001176</c:v>
                </c:pt>
                <c:pt idx="54">
                  <c:v>1491.3568039422762</c:v>
                </c:pt>
                <c:pt idx="55">
                  <c:v>1500.1231823383553</c:v>
                </c:pt>
                <c:pt idx="56">
                  <c:v>1508.4748550267252</c:v>
                </c:pt>
                <c:pt idx="57">
                  <c:v>1516.4352106300335</c:v>
                </c:pt>
                <c:pt idx="58">
                  <c:v>1524.0269072090405</c:v>
                </c:pt>
                <c:pt idx="59">
                  <c:v>1531.2640500341968</c:v>
                </c:pt>
                <c:pt idx="60">
                  <c:v>1538.1640935111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124.0855835194673</c:v>
                </c:pt>
                <c:pt idx="32">
                  <c:v>1148.5943830559495</c:v>
                </c:pt>
                <c:pt idx="33">
                  <c:v>1172.5579170448605</c:v>
                </c:pt>
                <c:pt idx="34">
                  <c:v>1196.1972705502722</c:v>
                </c:pt>
                <c:pt idx="35">
                  <c:v>1219.6342908455088</c:v>
                </c:pt>
                <c:pt idx="36">
                  <c:v>1242.7779259961553</c:v>
                </c:pt>
                <c:pt idx="37">
                  <c:v>1265.5720235176832</c:v>
                </c:pt>
                <c:pt idx="38">
                  <c:v>1287.9786158509783</c:v>
                </c:pt>
                <c:pt idx="39">
                  <c:v>1309.9215770653382</c:v>
                </c:pt>
                <c:pt idx="40">
                  <c:v>1331.3397784734516</c:v>
                </c:pt>
                <c:pt idx="41">
                  <c:v>1352.2385081044115</c:v>
                </c:pt>
                <c:pt idx="42">
                  <c:v>1372.6215617707519</c:v>
                </c:pt>
                <c:pt idx="43">
                  <c:v>1392.4823730390806</c:v>
                </c:pt>
                <c:pt idx="44">
                  <c:v>1411.8265531789184</c:v>
                </c:pt>
                <c:pt idx="45">
                  <c:v>1430.6627200382582</c:v>
                </c:pt>
                <c:pt idx="46">
                  <c:v>1448.9910716374511</c:v>
                </c:pt>
                <c:pt idx="47">
                  <c:v>1466.8194408939214</c:v>
                </c:pt>
                <c:pt idx="48">
                  <c:v>1484.1640969967673</c:v>
                </c:pt>
                <c:pt idx="49">
                  <c:v>1501.0369364302987</c:v>
                </c:pt>
                <c:pt idx="50">
                  <c:v>1517.4505098111963</c:v>
                </c:pt>
                <c:pt idx="51">
                  <c:v>1533.4208434620782</c:v>
                </c:pt>
                <c:pt idx="52">
                  <c:v>1548.9617900176631</c:v>
                </c:pt>
                <c:pt idx="53">
                  <c:v>1564.0821765801552</c:v>
                </c:pt>
                <c:pt idx="54">
                  <c:v>1578.7911189790104</c:v>
                </c:pt>
                <c:pt idx="55">
                  <c:v>1593.1001152531258</c:v>
                </c:pt>
                <c:pt idx="56">
                  <c:v>1607.0214615869011</c:v>
                </c:pt>
                <c:pt idx="57">
                  <c:v>1620.5685868806781</c:v>
                </c:pt>
                <c:pt idx="58">
                  <c:v>1633.7551395330634</c:v>
                </c:pt>
                <c:pt idx="59">
                  <c:v>1646.5866275264027</c:v>
                </c:pt>
                <c:pt idx="60">
                  <c:v>1659.0740142894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124.6411502469205</c:v>
                </c:pt>
                <c:pt idx="32">
                  <c:v>1150.1533116666944</c:v>
                </c:pt>
                <c:pt idx="33">
                  <c:v>1175.4274844320598</c:v>
                </c:pt>
                <c:pt idx="34">
                  <c:v>1200.5947675307882</c:v>
                </c:pt>
                <c:pt idx="35">
                  <c:v>1225.8551458696531</c:v>
                </c:pt>
                <c:pt idx="36">
                  <c:v>1251.1889703087991</c:v>
                </c:pt>
                <c:pt idx="37">
                  <c:v>1276.593971642586</c:v>
                </c:pt>
                <c:pt idx="38">
                  <c:v>1302.0670472110603</c:v>
                </c:pt>
                <c:pt idx="39">
                  <c:v>1327.4500782101916</c:v>
                </c:pt>
                <c:pt idx="40">
                  <c:v>1352.6385020303703</c:v>
                </c:pt>
                <c:pt idx="41">
                  <c:v>1377.6435752563962</c:v>
                </c:pt>
                <c:pt idx="42">
                  <c:v>1402.5034767371853</c:v>
                </c:pt>
                <c:pt idx="43">
                  <c:v>1427.2172083695395</c:v>
                </c:pt>
                <c:pt idx="44">
                  <c:v>1451.7661280903301</c:v>
                </c:pt>
                <c:pt idx="45">
                  <c:v>1476.1313174032534</c:v>
                </c:pt>
                <c:pt idx="46">
                  <c:v>1500.2881688708903</c:v>
                </c:pt>
                <c:pt idx="47">
                  <c:v>1524.2388229380836</c:v>
                </c:pt>
                <c:pt idx="48">
                  <c:v>1548.0015075431565</c:v>
                </c:pt>
                <c:pt idx="49">
                  <c:v>1571.5845794144207</c:v>
                </c:pt>
                <c:pt idx="50">
                  <c:v>1594.9790693667474</c:v>
                </c:pt>
                <c:pt idx="51">
                  <c:v>1618.1831296848268</c:v>
                </c:pt>
                <c:pt idx="52">
                  <c:v>1641.1999695732234</c:v>
                </c:pt>
                <c:pt idx="53">
                  <c:v>1664.0305587496832</c:v>
                </c:pt>
                <c:pt idx="54">
                  <c:v>1686.6771091453522</c:v>
                </c:pt>
                <c:pt idx="55">
                  <c:v>1709.1414886900743</c:v>
                </c:pt>
                <c:pt idx="56">
                  <c:v>1731.4256401646862</c:v>
                </c:pt>
                <c:pt idx="57">
                  <c:v>1753.5306938399649</c:v>
                </c:pt>
                <c:pt idx="58">
                  <c:v>1775.4613489238559</c:v>
                </c:pt>
                <c:pt idx="59">
                  <c:v>1797.2148624866268</c:v>
                </c:pt>
                <c:pt idx="60">
                  <c:v>1818.7941909733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125.4762474032809</c:v>
                </c:pt>
                <c:pt idx="32">
                  <c:v>1152.4929589140406</c:v>
                </c:pt>
                <c:pt idx="33">
                  <c:v>1179.7295598162091</c:v>
                </c:pt>
                <c:pt idx="34">
                  <c:v>1207.1854290250328</c:v>
                </c:pt>
                <c:pt idx="35">
                  <c:v>1235.2289604807006</c:v>
                </c:pt>
                <c:pt idx="36">
                  <c:v>1263.9936810413956</c:v>
                </c:pt>
                <c:pt idx="37">
                  <c:v>1293.5834056098718</c:v>
                </c:pt>
                <c:pt idx="38">
                  <c:v>1324.0690615555939</c:v>
                </c:pt>
                <c:pt idx="39">
                  <c:v>1355.1518958050979</c:v>
                </c:pt>
                <c:pt idx="40">
                  <c:v>1386.690463446314</c:v>
                </c:pt>
                <c:pt idx="41">
                  <c:v>1418.7478109307563</c:v>
                </c:pt>
                <c:pt idx="42">
                  <c:v>1451.4771008989057</c:v>
                </c:pt>
                <c:pt idx="43">
                  <c:v>1484.9060885382096</c:v>
                </c:pt>
                <c:pt idx="44">
                  <c:v>1518.9982670389734</c:v>
                </c:pt>
                <c:pt idx="45">
                  <c:v>1553.7063849832</c:v>
                </c:pt>
                <c:pt idx="46">
                  <c:v>1588.9894352275478</c:v>
                </c:pt>
                <c:pt idx="47">
                  <c:v>1624.8852628863929</c:v>
                </c:pt>
                <c:pt idx="48">
                  <c:v>1661.4585046948691</c:v>
                </c:pt>
                <c:pt idx="49">
                  <c:v>1698.7384314790511</c:v>
                </c:pt>
                <c:pt idx="50">
                  <c:v>1736.7031428462594</c:v>
                </c:pt>
                <c:pt idx="51">
                  <c:v>1775.3437308057594</c:v>
                </c:pt>
                <c:pt idx="52">
                  <c:v>1814.6684687850125</c:v>
                </c:pt>
                <c:pt idx="53">
                  <c:v>1854.7024581560265</c:v>
                </c:pt>
                <c:pt idx="54">
                  <c:v>1895.4729144756325</c:v>
                </c:pt>
                <c:pt idx="55">
                  <c:v>1936.9956364216564</c:v>
                </c:pt>
                <c:pt idx="56">
                  <c:v>1979.2736489239742</c:v>
                </c:pt>
                <c:pt idx="57">
                  <c:v>2022.3098824110848</c:v>
                </c:pt>
                <c:pt idx="58">
                  <c:v>2066.1179652117121</c:v>
                </c:pt>
                <c:pt idx="59">
                  <c:v>2110.7192448771716</c:v>
                </c:pt>
                <c:pt idx="60">
                  <c:v>2156.1353435012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126</c:v>
                </c:pt>
                <c:pt idx="2">
                  <c:v>177</c:v>
                </c:pt>
                <c:pt idx="3">
                  <c:v>232</c:v>
                </c:pt>
                <c:pt idx="4">
                  <c:v>287</c:v>
                </c:pt>
                <c:pt idx="5">
                  <c:v>343</c:v>
                </c:pt>
                <c:pt idx="6">
                  <c:v>385</c:v>
                </c:pt>
                <c:pt idx="7">
                  <c:v>461</c:v>
                </c:pt>
                <c:pt idx="8">
                  <c:v>506</c:v>
                </c:pt>
                <c:pt idx="9">
                  <c:v>566</c:v>
                </c:pt>
                <c:pt idx="10">
                  <c:v>642</c:v>
                </c:pt>
                <c:pt idx="11">
                  <c:v>704</c:v>
                </c:pt>
                <c:pt idx="12">
                  <c:v>752</c:v>
                </c:pt>
                <c:pt idx="13">
                  <c:v>777</c:v>
                </c:pt>
                <c:pt idx="14">
                  <c:v>829</c:v>
                </c:pt>
                <c:pt idx="15">
                  <c:v>882</c:v>
                </c:pt>
                <c:pt idx="16">
                  <c:v>924</c:v>
                </c:pt>
                <c:pt idx="17">
                  <c:v>969</c:v>
                </c:pt>
                <c:pt idx="18">
                  <c:v>1020</c:v>
                </c:pt>
                <c:pt idx="19">
                  <c:v>1051</c:v>
                </c:pt>
                <c:pt idx="20">
                  <c:v>1092</c:v>
                </c:pt>
                <c:pt idx="21">
                  <c:v>1130</c:v>
                </c:pt>
                <c:pt idx="22">
                  <c:v>1188</c:v>
                </c:pt>
                <c:pt idx="23">
                  <c:v>1237</c:v>
                </c:pt>
                <c:pt idx="24">
                  <c:v>1289</c:v>
                </c:pt>
                <c:pt idx="25">
                  <c:v>1326</c:v>
                </c:pt>
                <c:pt idx="26">
                  <c:v>1357</c:v>
                </c:pt>
                <c:pt idx="27">
                  <c:v>1402</c:v>
                </c:pt>
                <c:pt idx="28">
                  <c:v>1428</c:v>
                </c:pt>
                <c:pt idx="29">
                  <c:v>1468</c:v>
                </c:pt>
                <c:pt idx="30">
                  <c:v>1501</c:v>
                </c:pt>
                <c:pt idx="31">
                  <c:v>1528</c:v>
                </c:pt>
                <c:pt idx="32">
                  <c:v>1549</c:v>
                </c:pt>
                <c:pt idx="33">
                  <c:v>1584</c:v>
                </c:pt>
                <c:pt idx="34">
                  <c:v>1606</c:v>
                </c:pt>
                <c:pt idx="35">
                  <c:v>1623</c:v>
                </c:pt>
                <c:pt idx="36">
                  <c:v>1657</c:v>
                </c:pt>
                <c:pt idx="37">
                  <c:v>1692</c:v>
                </c:pt>
                <c:pt idx="38">
                  <c:v>1709</c:v>
                </c:pt>
                <c:pt idx="39">
                  <c:v>1740</c:v>
                </c:pt>
                <c:pt idx="40">
                  <c:v>1755</c:v>
                </c:pt>
                <c:pt idx="41">
                  <c:v>1767</c:v>
                </c:pt>
                <c:pt idx="42">
                  <c:v>1786</c:v>
                </c:pt>
                <c:pt idx="43">
                  <c:v>1804</c:v>
                </c:pt>
                <c:pt idx="44">
                  <c:v>1825</c:v>
                </c:pt>
                <c:pt idx="45">
                  <c:v>1848</c:v>
                </c:pt>
                <c:pt idx="46">
                  <c:v>1873</c:v>
                </c:pt>
                <c:pt idx="47">
                  <c:v>1888</c:v>
                </c:pt>
                <c:pt idx="48">
                  <c:v>1899</c:v>
                </c:pt>
                <c:pt idx="49">
                  <c:v>1918</c:v>
                </c:pt>
                <c:pt idx="50">
                  <c:v>1928</c:v>
                </c:pt>
                <c:pt idx="51">
                  <c:v>1937</c:v>
                </c:pt>
                <c:pt idx="52">
                  <c:v>1946</c:v>
                </c:pt>
                <c:pt idx="53">
                  <c:v>1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3.9125374564946</c:v>
                </c:pt>
                <c:pt idx="32">
                  <c:v>1567.3683739198666</c:v>
                </c:pt>
                <c:pt idx="33">
                  <c:v>1599.6156510651463</c:v>
                </c:pt>
                <c:pt idx="34">
                  <c:v>1631.0954143416704</c:v>
                </c:pt>
                <c:pt idx="35">
                  <c:v>1661.9144527407043</c:v>
                </c:pt>
                <c:pt idx="36">
                  <c:v>1691.8706311827493</c:v>
                </c:pt>
                <c:pt idx="37">
                  <c:v>1720.8287851876439</c:v>
                </c:pt>
                <c:pt idx="38">
                  <c:v>1748.6968609544233</c:v>
                </c:pt>
                <c:pt idx="39">
                  <c:v>1775.4776912054849</c:v>
                </c:pt>
                <c:pt idx="40">
                  <c:v>1801.1449896998552</c:v>
                </c:pt>
                <c:pt idx="41">
                  <c:v>1825.7226513828796</c:v>
                </c:pt>
                <c:pt idx="42">
                  <c:v>1849.2014846664231</c:v>
                </c:pt>
                <c:pt idx="43">
                  <c:v>1871.5907699246957</c:v>
                </c:pt>
                <c:pt idx="44">
                  <c:v>1892.9293719550919</c:v>
                </c:pt>
                <c:pt idx="45">
                  <c:v>1913.2700532984386</c:v>
                </c:pt>
                <c:pt idx="46">
                  <c:v>1932.6587457262222</c:v>
                </c:pt>
                <c:pt idx="47">
                  <c:v>1951.1256646812456</c:v>
                </c:pt>
                <c:pt idx="48">
                  <c:v>1968.7098614226441</c:v>
                </c:pt>
                <c:pt idx="49">
                  <c:v>1985.44556741008</c:v>
                </c:pt>
                <c:pt idx="50">
                  <c:v>2001.3741460229292</c:v>
                </c:pt>
                <c:pt idx="51">
                  <c:v>2016.5475712665652</c:v>
                </c:pt>
                <c:pt idx="52">
                  <c:v>2031.0063733484076</c:v>
                </c:pt>
                <c:pt idx="53">
                  <c:v>2044.7824878714896</c:v>
                </c:pt>
                <c:pt idx="54">
                  <c:v>2057.901820174618</c:v>
                </c:pt>
                <c:pt idx="55">
                  <c:v>2070.3942705230361</c:v>
                </c:pt>
                <c:pt idx="56">
                  <c:v>2082.2959082425577</c:v>
                </c:pt>
                <c:pt idx="57">
                  <c:v>2093.6398413847533</c:v>
                </c:pt>
                <c:pt idx="58">
                  <c:v>2104.4582534934893</c:v>
                </c:pt>
                <c:pt idx="59">
                  <c:v>2114.7713552768878</c:v>
                </c:pt>
                <c:pt idx="60">
                  <c:v>2124.6040248580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4.6985261464638</c:v>
                </c:pt>
                <c:pt idx="32">
                  <c:v>1569.5714556609521</c:v>
                </c:pt>
                <c:pt idx="33">
                  <c:v>1603.6681644845812</c:v>
                </c:pt>
                <c:pt idx="34">
                  <c:v>1637.3076131295863</c:v>
                </c:pt>
                <c:pt idx="35">
                  <c:v>1670.6664967214842</c:v>
                </c:pt>
                <c:pt idx="36">
                  <c:v>1703.6155776718617</c:v>
                </c:pt>
                <c:pt idx="37">
                  <c:v>1736.0712584784978</c:v>
                </c:pt>
                <c:pt idx="38">
                  <c:v>1767.9773196304263</c:v>
                </c:pt>
                <c:pt idx="39">
                  <c:v>1799.2252373576725</c:v>
                </c:pt>
                <c:pt idx="40">
                  <c:v>1829.727551491666</c:v>
                </c:pt>
                <c:pt idx="41">
                  <c:v>1859.4913447856172</c:v>
                </c:pt>
                <c:pt idx="42">
                  <c:v>1888.5210820673828</c:v>
                </c:pt>
                <c:pt idx="43">
                  <c:v>1916.8069476088056</c:v>
                </c:pt>
                <c:pt idx="44">
                  <c:v>1944.3572991566762</c:v>
                </c:pt>
                <c:pt idx="45">
                  <c:v>1971.1837713655621</c:v>
                </c:pt>
                <c:pt idx="46">
                  <c:v>1997.2871303795173</c:v>
                </c:pt>
                <c:pt idx="47">
                  <c:v>2022.6785355855254</c:v>
                </c:pt>
                <c:pt idx="48">
                  <c:v>2047.3813010370809</c:v>
                </c:pt>
                <c:pt idx="49">
                  <c:v>2071.4124058362222</c:v>
                </c:pt>
                <c:pt idx="50">
                  <c:v>2094.7893254016021</c:v>
                </c:pt>
                <c:pt idx="51">
                  <c:v>2117.5347214671951</c:v>
                </c:pt>
                <c:pt idx="52">
                  <c:v>2139.6683538469738</c:v>
                </c:pt>
                <c:pt idx="53">
                  <c:v>2161.2031329808024</c:v>
                </c:pt>
                <c:pt idx="54">
                  <c:v>2182.1518764219309</c:v>
                </c:pt>
                <c:pt idx="55">
                  <c:v>2202.5310335717631</c:v>
                </c:pt>
                <c:pt idx="56">
                  <c:v>2222.3582918794823</c:v>
                </c:pt>
                <c:pt idx="57">
                  <c:v>2241.6525507744764</c:v>
                </c:pt>
                <c:pt idx="58">
                  <c:v>2260.4331449603783</c:v>
                </c:pt>
                <c:pt idx="59">
                  <c:v>2278.7080251550469</c:v>
                </c:pt>
                <c:pt idx="60">
                  <c:v>2296.4927938588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5.4845148364325</c:v>
                </c:pt>
                <c:pt idx="32">
                  <c:v>1571.777009064584</c:v>
                </c:pt>
                <c:pt idx="33">
                  <c:v>1607.7286318071524</c:v>
                </c:pt>
                <c:pt idx="34">
                  <c:v>1643.5315357673669</c:v>
                </c:pt>
                <c:pt idx="35">
                  <c:v>1679.4734788886494</c:v>
                </c:pt>
                <c:pt idx="36">
                  <c:v>1715.526836028863</c:v>
                </c:pt>
                <c:pt idx="37">
                  <c:v>1751.6847399714768</c:v>
                </c:pt>
                <c:pt idx="38">
                  <c:v>1787.9407577382162</c:v>
                </c:pt>
                <c:pt idx="39">
                  <c:v>1824.070509453024</c:v>
                </c:pt>
                <c:pt idx="40">
                  <c:v>1859.9251311170613</c:v>
                </c:pt>
                <c:pt idx="41">
                  <c:v>1895.5200934410404</c:v>
                </c:pt>
                <c:pt idx="42">
                  <c:v>1930.908541953497</c:v>
                </c:pt>
                <c:pt idx="43">
                  <c:v>1966.0885263848104</c:v>
                </c:pt>
                <c:pt idx="44">
                  <c:v>2001.0340588001857</c:v>
                </c:pt>
                <c:pt idx="45">
                  <c:v>2035.7176966691022</c:v>
                </c:pt>
                <c:pt idx="46">
                  <c:v>2070.1049854904436</c:v>
                </c:pt>
                <c:pt idx="47">
                  <c:v>2104.1989437337261</c:v>
                </c:pt>
                <c:pt idx="48">
                  <c:v>2138.0255384920488</c:v>
                </c:pt>
                <c:pt idx="49">
                  <c:v>2171.5966703185532</c:v>
                </c:pt>
                <c:pt idx="50">
                  <c:v>2204.8992623632739</c:v>
                </c:pt>
                <c:pt idx="51">
                  <c:v>2237.9305951988181</c:v>
                </c:pt>
                <c:pt idx="52">
                  <c:v>2270.6952413591212</c:v>
                </c:pt>
                <c:pt idx="53">
                  <c:v>2303.1948870055217</c:v>
                </c:pt>
                <c:pt idx="54">
                  <c:v>2335.4324950710834</c:v>
                </c:pt>
                <c:pt idx="55">
                  <c:v>2367.410796086202</c:v>
                </c:pt>
                <c:pt idx="56">
                  <c:v>2399.1327564506146</c:v>
                </c:pt>
                <c:pt idx="57">
                  <c:v>2430.599773618831</c:v>
                </c:pt>
                <c:pt idx="58">
                  <c:v>2461.8184356194611</c:v>
                </c:pt>
                <c:pt idx="59">
                  <c:v>2492.7849344528195</c:v>
                </c:pt>
                <c:pt idx="60">
                  <c:v>2523.50346088460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536.6659695339324</c:v>
                </c:pt>
                <c:pt idx="32">
                  <c:v>1575.0871139167998</c:v>
                </c:pt>
                <c:pt idx="33">
                  <c:v>1613.8161152081266</c:v>
                </c:pt>
                <c:pt idx="34">
                  <c:v>1652.8595228410893</c:v>
                </c:pt>
                <c:pt idx="35">
                  <c:v>1692.744125400257</c:v>
                </c:pt>
                <c:pt idx="36">
                  <c:v>1733.6599017694887</c:v>
                </c:pt>
                <c:pt idx="37">
                  <c:v>1775.7508723305129</c:v>
                </c:pt>
                <c:pt idx="38">
                  <c:v>1819.1161384205004</c:v>
                </c:pt>
                <c:pt idx="39">
                  <c:v>1863.3327267553082</c:v>
                </c:pt>
                <c:pt idx="40">
                  <c:v>1908.199869189023</c:v>
                </c:pt>
                <c:pt idx="41">
                  <c:v>1953.8064362075143</c:v>
                </c:pt>
                <c:pt idx="42">
                  <c:v>2000.3685489453326</c:v>
                </c:pt>
                <c:pt idx="43">
                  <c:v>2047.9251682141487</c:v>
                </c:pt>
                <c:pt idx="44">
                  <c:v>2096.4252343864227</c:v>
                </c:pt>
                <c:pt idx="45">
                  <c:v>2145.8012808143199</c:v>
                </c:pt>
                <c:pt idx="46">
                  <c:v>2195.9957017185252</c:v>
                </c:pt>
                <c:pt idx="47">
                  <c:v>2247.0621535942264</c:v>
                </c:pt>
                <c:pt idx="48">
                  <c:v>2299.0923359420972</c:v>
                </c:pt>
                <c:pt idx="49">
                  <c:v>2352.1278911496838</c:v>
                </c:pt>
                <c:pt idx="50">
                  <c:v>2406.1375268888733</c:v>
                </c:pt>
                <c:pt idx="51">
                  <c:v>2461.1086301443402</c:v>
                </c:pt>
                <c:pt idx="52">
                  <c:v>2517.0529765567917</c:v>
                </c:pt>
                <c:pt idx="53">
                  <c:v>2574.0064732625724</c:v>
                </c:pt>
                <c:pt idx="54">
                  <c:v>2632.0075640667328</c:v>
                </c:pt>
                <c:pt idx="55">
                  <c:v>2691.078783030669</c:v>
                </c:pt>
                <c:pt idx="56">
                  <c:v>2751.2247465476867</c:v>
                </c:pt>
                <c:pt idx="57">
                  <c:v>2812.4494666820847</c:v>
                </c:pt>
                <c:pt idx="58">
                  <c:v>2874.7722564883361</c:v>
                </c:pt>
                <c:pt idx="59">
                  <c:v>2938.2234799255561</c:v>
                </c:pt>
                <c:pt idx="60">
                  <c:v>3002.8338323326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7</c:v>
                </c:pt>
                <c:pt idx="1">
                  <c:v>89</c:v>
                </c:pt>
                <c:pt idx="2">
                  <c:v>115</c:v>
                </c:pt>
                <c:pt idx="3">
                  <c:v>158</c:v>
                </c:pt>
                <c:pt idx="4">
                  <c:v>188</c:v>
                </c:pt>
                <c:pt idx="5">
                  <c:v>211</c:v>
                </c:pt>
                <c:pt idx="6">
                  <c:v>243</c:v>
                </c:pt>
                <c:pt idx="7">
                  <c:v>297</c:v>
                </c:pt>
                <c:pt idx="8">
                  <c:v>338</c:v>
                </c:pt>
                <c:pt idx="9">
                  <c:v>372</c:v>
                </c:pt>
                <c:pt idx="10">
                  <c:v>401</c:v>
                </c:pt>
                <c:pt idx="11">
                  <c:v>449</c:v>
                </c:pt>
                <c:pt idx="12">
                  <c:v>476</c:v>
                </c:pt>
                <c:pt idx="13">
                  <c:v>505</c:v>
                </c:pt>
                <c:pt idx="14">
                  <c:v>557</c:v>
                </c:pt>
                <c:pt idx="15">
                  <c:v>589</c:v>
                </c:pt>
                <c:pt idx="16">
                  <c:v>622</c:v>
                </c:pt>
                <c:pt idx="17">
                  <c:v>654</c:v>
                </c:pt>
                <c:pt idx="18">
                  <c:v>689</c:v>
                </c:pt>
                <c:pt idx="19">
                  <c:v>716</c:v>
                </c:pt>
                <c:pt idx="20">
                  <c:v>743</c:v>
                </c:pt>
                <c:pt idx="21">
                  <c:v>782</c:v>
                </c:pt>
                <c:pt idx="22">
                  <c:v>810</c:v>
                </c:pt>
                <c:pt idx="23">
                  <c:v>838</c:v>
                </c:pt>
                <c:pt idx="24">
                  <c:v>878</c:v>
                </c:pt>
                <c:pt idx="25">
                  <c:v>904</c:v>
                </c:pt>
                <c:pt idx="26">
                  <c:v>917</c:v>
                </c:pt>
                <c:pt idx="27">
                  <c:v>946</c:v>
                </c:pt>
                <c:pt idx="28">
                  <c:v>979</c:v>
                </c:pt>
                <c:pt idx="29">
                  <c:v>1014</c:v>
                </c:pt>
                <c:pt idx="30">
                  <c:v>1047</c:v>
                </c:pt>
                <c:pt idx="31">
                  <c:v>1073</c:v>
                </c:pt>
                <c:pt idx="32">
                  <c:v>1094</c:v>
                </c:pt>
                <c:pt idx="33">
                  <c:v>1112</c:v>
                </c:pt>
                <c:pt idx="34">
                  <c:v>1140</c:v>
                </c:pt>
                <c:pt idx="35">
                  <c:v>1158</c:v>
                </c:pt>
                <c:pt idx="36">
                  <c:v>1189</c:v>
                </c:pt>
                <c:pt idx="37">
                  <c:v>1204</c:v>
                </c:pt>
                <c:pt idx="38">
                  <c:v>1230</c:v>
                </c:pt>
                <c:pt idx="39">
                  <c:v>1246</c:v>
                </c:pt>
                <c:pt idx="40">
                  <c:v>1262</c:v>
                </c:pt>
                <c:pt idx="41">
                  <c:v>1278</c:v>
                </c:pt>
                <c:pt idx="42">
                  <c:v>1306</c:v>
                </c:pt>
                <c:pt idx="43">
                  <c:v>1316</c:v>
                </c:pt>
                <c:pt idx="44">
                  <c:v>1340</c:v>
                </c:pt>
                <c:pt idx="45">
                  <c:v>1358</c:v>
                </c:pt>
                <c:pt idx="46">
                  <c:v>1372</c:v>
                </c:pt>
                <c:pt idx="47">
                  <c:v>1387</c:v>
                </c:pt>
                <c:pt idx="48">
                  <c:v>1399</c:v>
                </c:pt>
                <c:pt idx="49">
                  <c:v>1413</c:v>
                </c:pt>
                <c:pt idx="50">
                  <c:v>1435</c:v>
                </c:pt>
                <c:pt idx="51">
                  <c:v>1460</c:v>
                </c:pt>
                <c:pt idx="52">
                  <c:v>1469</c:v>
                </c:pt>
                <c:pt idx="53">
                  <c:v>1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50.9810771846239</c:v>
                </c:pt>
                <c:pt idx="32">
                  <c:v>1069.1694985952079</c:v>
                </c:pt>
                <c:pt idx="33">
                  <c:v>1086.7021554878777</c:v>
                </c:pt>
                <c:pt idx="34">
                  <c:v>1103.8210449342489</c:v>
                </c:pt>
                <c:pt idx="35">
                  <c:v>1120.5865183787241</c:v>
                </c:pt>
                <c:pt idx="36">
                  <c:v>1136.8888205502262</c:v>
                </c:pt>
                <c:pt idx="37">
                  <c:v>1152.6516963434528</c:v>
                </c:pt>
                <c:pt idx="38">
                  <c:v>1167.8233838118076</c:v>
                </c:pt>
                <c:pt idx="39">
                  <c:v>1182.4047671346341</c:v>
                </c:pt>
                <c:pt idx="40">
                  <c:v>1196.3810048844359</c:v>
                </c:pt>
                <c:pt idx="41">
                  <c:v>1209.7648175518477</c:v>
                </c:pt>
                <c:pt idx="42">
                  <c:v>1222.5506494818112</c:v>
                </c:pt>
                <c:pt idx="43">
                  <c:v>1234.7432170977904</c:v>
                </c:pt>
                <c:pt idx="44">
                  <c:v>1246.3638894144658</c:v>
                </c:pt>
                <c:pt idx="45">
                  <c:v>1257.4408777360595</c:v>
                </c:pt>
                <c:pt idx="46">
                  <c:v>1267.9994625714523</c:v>
                </c:pt>
                <c:pt idx="47">
                  <c:v>1278.0561213868662</c:v>
                </c:pt>
                <c:pt idx="48">
                  <c:v>1287.6322807702024</c:v>
                </c:pt>
                <c:pt idx="49">
                  <c:v>1296.7466169956408</c:v>
                </c:pt>
                <c:pt idx="50">
                  <c:v>1305.421361169638</c:v>
                </c:pt>
                <c:pt idx="51">
                  <c:v>1313.68464351236</c:v>
                </c:pt>
                <c:pt idx="52">
                  <c:v>1321.5585641634468</c:v>
                </c:pt>
                <c:pt idx="53">
                  <c:v>1329.0607631330774</c:v>
                </c:pt>
                <c:pt idx="54">
                  <c:v>1336.205246298782</c:v>
                </c:pt>
                <c:pt idx="55">
                  <c:v>1343.008364679567</c:v>
                </c:pt>
                <c:pt idx="56">
                  <c:v>1349.4898546787902</c:v>
                </c:pt>
                <c:pt idx="57">
                  <c:v>1355.6675864090982</c:v>
                </c:pt>
                <c:pt idx="58">
                  <c:v>1361.55901055035</c:v>
                </c:pt>
                <c:pt idx="59">
                  <c:v>1367.1752127971195</c:v>
                </c:pt>
                <c:pt idx="60">
                  <c:v>1372.52974475235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051.4049885708985</c:v>
                </c:pt>
                <c:pt idx="32">
                  <c:v>1070.3577397811778</c:v>
                </c:pt>
                <c:pt idx="33">
                  <c:v>1088.8883584130133</c:v>
                </c:pt>
                <c:pt idx="34">
                  <c:v>1107.1733586014586</c:v>
                </c:pt>
                <c:pt idx="35">
                  <c:v>1125.3111689280981</c:v>
                </c:pt>
                <c:pt idx="36">
                  <c:v>1143.2317807665906</c:v>
                </c:pt>
                <c:pt idx="37">
                  <c:v>1160.8870895223004</c:v>
                </c:pt>
                <c:pt idx="38">
                  <c:v>1178.2449552180587</c:v>
                </c:pt>
                <c:pt idx="39">
                  <c:v>1195.2462484675577</c:v>
                </c:pt>
                <c:pt idx="40">
                  <c:v>1211.8430885746443</c:v>
                </c:pt>
                <c:pt idx="41">
                  <c:v>1228.0390061668595</c:v>
                </c:pt>
                <c:pt idx="42">
                  <c:v>1243.8357519304766</c:v>
                </c:pt>
                <c:pt idx="43">
                  <c:v>1259.2276500642665</c:v>
                </c:pt>
                <c:pt idx="44">
                  <c:v>1274.2195125798921</c:v>
                </c:pt>
                <c:pt idx="45">
                  <c:v>1288.8172096797409</c:v>
                </c:pt>
                <c:pt idx="46">
                  <c:v>1303.0215074596508</c:v>
                </c:pt>
                <c:pt idx="47">
                  <c:v>1316.8384810310597</c:v>
                </c:pt>
                <c:pt idx="48">
                  <c:v>1330.2809202844203</c:v>
                </c:pt>
                <c:pt idx="49">
                  <c:v>1343.3580905020776</c:v>
                </c:pt>
                <c:pt idx="50">
                  <c:v>1356.0792130589271</c:v>
                </c:pt>
                <c:pt idx="51">
                  <c:v>1368.456501857838</c:v>
                </c:pt>
                <c:pt idx="52">
                  <c:v>1380.5007315350183</c:v>
                </c:pt>
                <c:pt idx="53">
                  <c:v>1392.2191717735257</c:v>
                </c:pt>
                <c:pt idx="54">
                  <c:v>1403.6186781121612</c:v>
                </c:pt>
                <c:pt idx="55">
                  <c:v>1414.7082548352873</c:v>
                </c:pt>
                <c:pt idx="56">
                  <c:v>1425.4976530024032</c:v>
                </c:pt>
                <c:pt idx="57">
                  <c:v>1435.9969937666338</c:v>
                </c:pt>
                <c:pt idx="58">
                  <c:v>1446.2167236144196</c:v>
                </c:pt>
                <c:pt idx="59">
                  <c:v>1456.1612455868944</c:v>
                </c:pt>
                <c:pt idx="60">
                  <c:v>1465.8390414474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51.828899957173</c:v>
                </c:pt>
                <c:pt idx="32">
                  <c:v>1071.547314021821</c:v>
                </c:pt>
                <c:pt idx="33">
                  <c:v>1091.0788512891015</c:v>
                </c:pt>
                <c:pt idx="34">
                  <c:v>1110.5319971053102</c:v>
                </c:pt>
                <c:pt idx="35">
                  <c:v>1130.0654559114319</c:v>
                </c:pt>
                <c:pt idx="36">
                  <c:v>1149.6644544773733</c:v>
                </c:pt>
                <c:pt idx="37">
                  <c:v>1169.3226337781516</c:v>
                </c:pt>
                <c:pt idx="38">
                  <c:v>1189.0350404781798</c:v>
                </c:pt>
                <c:pt idx="39">
                  <c:v>1208.6801640436199</c:v>
                </c:pt>
                <c:pt idx="40">
                  <c:v>1228.1770387424058</c:v>
                </c:pt>
                <c:pt idx="41">
                  <c:v>1247.5336784143158</c:v>
                </c:pt>
                <c:pt idx="42">
                  <c:v>1266.7781160164886</c:v>
                </c:pt>
                <c:pt idx="43">
                  <c:v>1285.9089089039383</c:v>
                </c:pt>
                <c:pt idx="44">
                  <c:v>1304.9123211089427</c:v>
                </c:pt>
                <c:pt idx="45">
                  <c:v>1323.7730599185793</c:v>
                </c:pt>
                <c:pt idx="46">
                  <c:v>1342.4728034092541</c:v>
                </c:pt>
                <c:pt idx="47">
                  <c:v>1361.0131724847174</c:v>
                </c:pt>
                <c:pt idx="48">
                  <c:v>1379.4083021567631</c:v>
                </c:pt>
                <c:pt idx="49">
                  <c:v>1397.6646673494201</c:v>
                </c:pt>
                <c:pt idx="50">
                  <c:v>1415.7749337537091</c:v>
                </c:pt>
                <c:pt idx="51">
                  <c:v>1433.7375581760627</c:v>
                </c:pt>
                <c:pt idx="52">
                  <c:v>1451.5550302043489</c:v>
                </c:pt>
                <c:pt idx="53">
                  <c:v>1469.2284874275031</c:v>
                </c:pt>
                <c:pt idx="54">
                  <c:v>1486.7594070349571</c:v>
                </c:pt>
                <c:pt idx="55">
                  <c:v>1504.1493255047701</c:v>
                </c:pt>
                <c:pt idx="56">
                  <c:v>1521.4000009034296</c:v>
                </c:pt>
                <c:pt idx="57">
                  <c:v>1538.5120405446969</c:v>
                </c:pt>
                <c:pt idx="58">
                  <c:v>1555.4889538858849</c:v>
                </c:pt>
                <c:pt idx="59">
                  <c:v>1572.3287398279392</c:v>
                </c:pt>
                <c:pt idx="60">
                  <c:v>1589.033664502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52.4661000912583</c:v>
                </c:pt>
                <c:pt idx="32">
                  <c:v>1073.3326326970534</c:v>
                </c:pt>
                <c:pt idx="33">
                  <c:v>1094.3628566718412</c:v>
                </c:pt>
                <c:pt idx="34">
                  <c:v>1115.5656980118702</c:v>
                </c:pt>
                <c:pt idx="35">
                  <c:v>1137.2293406406664</c:v>
                </c:pt>
                <c:pt idx="36">
                  <c:v>1159.4570249672515</c:v>
                </c:pt>
                <c:pt idx="37">
                  <c:v>1182.324355470003</c:v>
                </c:pt>
                <c:pt idx="38">
                  <c:v>1205.8838782545968</c:v>
                </c:pt>
                <c:pt idx="39">
                  <c:v>1229.9072423699317</c:v>
                </c:pt>
                <c:pt idx="40">
                  <c:v>1254.2856881279743</c:v>
                </c:pt>
                <c:pt idx="41">
                  <c:v>1279.0669108471159</c:v>
                </c:pt>
                <c:pt idx="42">
                  <c:v>1304.36706136467</c:v>
                </c:pt>
                <c:pt idx="43">
                  <c:v>1330.206930520209</c:v>
                </c:pt>
                <c:pt idx="44">
                  <c:v>1356.5594073216166</c:v>
                </c:pt>
                <c:pt idx="45">
                  <c:v>1383.3876561465627</c:v>
                </c:pt>
                <c:pt idx="46">
                  <c:v>1410.6609052409278</c:v>
                </c:pt>
                <c:pt idx="47">
                  <c:v>1438.408176999767</c:v>
                </c:pt>
                <c:pt idx="48">
                  <c:v>1466.6791130642973</c:v>
                </c:pt>
                <c:pt idx="49">
                  <c:v>1495.496340701055</c:v>
                </c:pt>
                <c:pt idx="50">
                  <c:v>1524.8427586883113</c:v>
                </c:pt>
                <c:pt idx="51">
                  <c:v>1554.7115568130159</c:v>
                </c:pt>
                <c:pt idx="52">
                  <c:v>1585.1091375013737</c:v>
                </c:pt>
                <c:pt idx="53">
                  <c:v>1616.0551535084935</c:v>
                </c:pt>
                <c:pt idx="54">
                  <c:v>1647.5702957749781</c:v>
                </c:pt>
                <c:pt idx="55">
                  <c:v>1679.6668504933214</c:v>
                </c:pt>
                <c:pt idx="56">
                  <c:v>1712.3475520531306</c:v>
                </c:pt>
                <c:pt idx="57">
                  <c:v>1745.6144671748989</c:v>
                </c:pt>
                <c:pt idx="58">
                  <c:v>1779.4780355663534</c:v>
                </c:pt>
                <c:pt idx="59">
                  <c:v>1813.9547515631218</c:v>
                </c:pt>
                <c:pt idx="60">
                  <c:v>1849.0612468156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1</c:v>
                </c:pt>
                <c:pt idx="1">
                  <c:v>242</c:v>
                </c:pt>
                <c:pt idx="2">
                  <c:v>336</c:v>
                </c:pt>
                <c:pt idx="3">
                  <c:v>452</c:v>
                </c:pt>
                <c:pt idx="4">
                  <c:v>541</c:v>
                </c:pt>
                <c:pt idx="5">
                  <c:v>626</c:v>
                </c:pt>
                <c:pt idx="6">
                  <c:v>698</c:v>
                </c:pt>
                <c:pt idx="7">
                  <c:v>833</c:v>
                </c:pt>
                <c:pt idx="8">
                  <c:v>943</c:v>
                </c:pt>
                <c:pt idx="9">
                  <c:v>1058</c:v>
                </c:pt>
                <c:pt idx="10">
                  <c:v>1159</c:v>
                </c:pt>
                <c:pt idx="11">
                  <c:v>1283</c:v>
                </c:pt>
                <c:pt idx="12">
                  <c:v>1358</c:v>
                </c:pt>
                <c:pt idx="13">
                  <c:v>1423</c:v>
                </c:pt>
                <c:pt idx="14">
                  <c:v>1549</c:v>
                </c:pt>
                <c:pt idx="15">
                  <c:v>1666</c:v>
                </c:pt>
                <c:pt idx="16">
                  <c:v>1776</c:v>
                </c:pt>
                <c:pt idx="17">
                  <c:v>1863</c:v>
                </c:pt>
                <c:pt idx="18">
                  <c:v>1946</c:v>
                </c:pt>
                <c:pt idx="19">
                  <c:v>2007</c:v>
                </c:pt>
                <c:pt idx="20">
                  <c:v>2057</c:v>
                </c:pt>
                <c:pt idx="21">
                  <c:v>2193</c:v>
                </c:pt>
                <c:pt idx="22">
                  <c:v>2277</c:v>
                </c:pt>
                <c:pt idx="23">
                  <c:v>2375</c:v>
                </c:pt>
                <c:pt idx="24">
                  <c:v>2463</c:v>
                </c:pt>
                <c:pt idx="25">
                  <c:v>2557</c:v>
                </c:pt>
                <c:pt idx="26">
                  <c:v>2620</c:v>
                </c:pt>
                <c:pt idx="27">
                  <c:v>2685</c:v>
                </c:pt>
                <c:pt idx="28">
                  <c:v>2806</c:v>
                </c:pt>
                <c:pt idx="29">
                  <c:v>2874</c:v>
                </c:pt>
                <c:pt idx="30">
                  <c:v>2964</c:v>
                </c:pt>
                <c:pt idx="31">
                  <c:v>3048</c:v>
                </c:pt>
                <c:pt idx="32">
                  <c:v>3110</c:v>
                </c:pt>
                <c:pt idx="33">
                  <c:v>3164</c:v>
                </c:pt>
                <c:pt idx="34">
                  <c:v>3215</c:v>
                </c:pt>
                <c:pt idx="35">
                  <c:v>3266</c:v>
                </c:pt>
                <c:pt idx="36">
                  <c:v>3343</c:v>
                </c:pt>
                <c:pt idx="37">
                  <c:v>3411</c:v>
                </c:pt>
                <c:pt idx="38">
                  <c:v>3477</c:v>
                </c:pt>
                <c:pt idx="39">
                  <c:v>3525</c:v>
                </c:pt>
                <c:pt idx="40">
                  <c:v>3556</c:v>
                </c:pt>
                <c:pt idx="41">
                  <c:v>3592</c:v>
                </c:pt>
                <c:pt idx="42">
                  <c:v>3648</c:v>
                </c:pt>
                <c:pt idx="43">
                  <c:v>3689</c:v>
                </c:pt>
                <c:pt idx="44">
                  <c:v>3727</c:v>
                </c:pt>
                <c:pt idx="45">
                  <c:v>3763</c:v>
                </c:pt>
                <c:pt idx="46">
                  <c:v>3801</c:v>
                </c:pt>
                <c:pt idx="47">
                  <c:v>3836</c:v>
                </c:pt>
                <c:pt idx="48">
                  <c:v>3863</c:v>
                </c:pt>
                <c:pt idx="49">
                  <c:v>3925</c:v>
                </c:pt>
                <c:pt idx="50">
                  <c:v>3958</c:v>
                </c:pt>
                <c:pt idx="51">
                  <c:v>4010</c:v>
                </c:pt>
                <c:pt idx="52">
                  <c:v>4042</c:v>
                </c:pt>
                <c:pt idx="53">
                  <c:v>40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034.4174429207001</c:v>
                </c:pt>
                <c:pt idx="32">
                  <c:v>3104.7671235925818</c:v>
                </c:pt>
                <c:pt idx="33">
                  <c:v>3172.5838249221183</c:v>
                </c:pt>
                <c:pt idx="34">
                  <c:v>3238.8094829318707</c:v>
                </c:pt>
                <c:pt idx="35">
                  <c:v>3303.6836585730039</c:v>
                </c:pt>
                <c:pt idx="36">
                  <c:v>3366.782201809664</c:v>
                </c:pt>
                <c:pt idx="37">
                  <c:v>3427.802764127403</c:v>
                </c:pt>
                <c:pt idx="38">
                  <c:v>3486.5405532612212</c:v>
                </c:pt>
                <c:pt idx="39">
                  <c:v>3542.9972368159074</c:v>
                </c:pt>
                <c:pt idx="40">
                  <c:v>3597.1139391340703</c:v>
                </c:pt>
                <c:pt idx="41">
                  <c:v>3648.9391392221009</c:v>
                </c:pt>
                <c:pt idx="42">
                  <c:v>3698.4498563103525</c:v>
                </c:pt>
                <c:pt idx="43">
                  <c:v>3745.6634539869538</c:v>
                </c:pt>
                <c:pt idx="44">
                  <c:v>3790.6632251028641</c:v>
                </c:pt>
                <c:pt idx="45">
                  <c:v>3833.5570215922835</c:v>
                </c:pt>
                <c:pt idx="46">
                  <c:v>3874.4434509805565</c:v>
                </c:pt>
                <c:pt idx="47">
                  <c:v>3913.3863807258876</c:v>
                </c:pt>
                <c:pt idx="48">
                  <c:v>3950.4692093464309</c:v>
                </c:pt>
                <c:pt idx="49">
                  <c:v>3985.7643502739243</c:v>
                </c:pt>
                <c:pt idx="50">
                  <c:v>4019.3571048625881</c:v>
                </c:pt>
                <c:pt idx="51">
                  <c:v>4051.3559401457246</c:v>
                </c:pt>
                <c:pt idx="52">
                  <c:v>4081.8465111994383</c:v>
                </c:pt>
                <c:pt idx="53">
                  <c:v>4110.8977894793643</c:v>
                </c:pt>
                <c:pt idx="54">
                  <c:v>4138.5637397638393</c:v>
                </c:pt>
                <c:pt idx="55">
                  <c:v>4164.9078603979569</c:v>
                </c:pt>
                <c:pt idx="56">
                  <c:v>4190.0068280927717</c:v>
                </c:pt>
                <c:pt idx="57">
                  <c:v>4213.929416085055</c:v>
                </c:pt>
                <c:pt idx="58">
                  <c:v>4236.7429975542027</c:v>
                </c:pt>
                <c:pt idx="59">
                  <c:v>4258.4907120191183</c:v>
                </c:pt>
                <c:pt idx="60">
                  <c:v>4279.22504553442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036.0479884739339</c:v>
                </c:pt>
                <c:pt idx="32">
                  <c:v>3109.3377223995067</c:v>
                </c:pt>
                <c:pt idx="33">
                  <c:v>3180.9943553192852</c:v>
                </c:pt>
                <c:pt idx="34">
                  <c:v>3251.7089220122293</c:v>
                </c:pt>
                <c:pt idx="35">
                  <c:v>3321.8684525148315</c:v>
                </c:pt>
                <c:pt idx="36">
                  <c:v>3391.2028387771861</c:v>
                </c:pt>
                <c:pt idx="37">
                  <c:v>3459.518923220236</c:v>
                </c:pt>
                <c:pt idx="38">
                  <c:v>3526.6881833321577</c:v>
                </c:pt>
                <c:pt idx="39">
                  <c:v>3592.4815696847222</c:v>
                </c:pt>
                <c:pt idx="40">
                  <c:v>3656.7129994558613</c:v>
                </c:pt>
                <c:pt idx="41">
                  <c:v>3719.3952736941083</c:v>
                </c:pt>
                <c:pt idx="42">
                  <c:v>3780.5333559452806</c:v>
                </c:pt>
                <c:pt idx="43">
                  <c:v>3840.1043863033938</c:v>
                </c:pt>
                <c:pt idx="44">
                  <c:v>3898.1276935870815</c:v>
                </c:pt>
                <c:pt idx="45">
                  <c:v>3954.6247669974064</c:v>
                </c:pt>
                <c:pt idx="46">
                  <c:v>4009.5995036457321</c:v>
                </c:pt>
                <c:pt idx="47">
                  <c:v>4063.075423081692</c:v>
                </c:pt>
                <c:pt idx="48">
                  <c:v>4115.1023019074428</c:v>
                </c:pt>
                <c:pt idx="49">
                  <c:v>4165.7160688527292</c:v>
                </c:pt>
                <c:pt idx="50">
                  <c:v>4214.9516446070684</c:v>
                </c:pt>
                <c:pt idx="51">
                  <c:v>4262.8559865575717</c:v>
                </c:pt>
                <c:pt idx="52">
                  <c:v>4309.4708549608358</c:v>
                </c:pt>
                <c:pt idx="53">
                  <c:v>4354.825037939434</c:v>
                </c:pt>
                <c:pt idx="54">
                  <c:v>4398.9447502066005</c:v>
                </c:pt>
                <c:pt idx="55">
                  <c:v>4441.8649830705617</c:v>
                </c:pt>
                <c:pt idx="56">
                  <c:v>4483.6238131575246</c:v>
                </c:pt>
                <c:pt idx="57">
                  <c:v>4524.2599769376011</c:v>
                </c:pt>
                <c:pt idx="58">
                  <c:v>4563.8137061833631</c:v>
                </c:pt>
                <c:pt idx="59">
                  <c:v>4602.3022464324895</c:v>
                </c:pt>
                <c:pt idx="60">
                  <c:v>4639.75840205828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037.6785340271663</c:v>
                </c:pt>
                <c:pt idx="32">
                  <c:v>3113.9134487081701</c:v>
                </c:pt>
                <c:pt idx="33">
                  <c:v>3189.421387065624</c:v>
                </c:pt>
                <c:pt idx="34">
                  <c:v>3264.6326938520851</c:v>
                </c:pt>
                <c:pt idx="35">
                  <c:v>3340.1672579916967</c:v>
                </c:pt>
                <c:pt idx="36">
                  <c:v>3415.9685945745368</c:v>
                </c:pt>
                <c:pt idx="37">
                  <c:v>3492.0050929625304</c:v>
                </c:pt>
                <c:pt idx="38">
                  <c:v>3568.2537043957918</c:v>
                </c:pt>
                <c:pt idx="39">
                  <c:v>3644.2457151581657</c:v>
                </c:pt>
                <c:pt idx="40">
                  <c:v>3719.6678699000377</c:v>
                </c:pt>
                <c:pt idx="41">
                  <c:v>3794.5501043983527</c:v>
                </c:pt>
                <c:pt idx="42">
                  <c:v>3868.9985479800503</c:v>
                </c:pt>
                <c:pt idx="43">
                  <c:v>3943.0065991415217</c:v>
                </c:pt>
                <c:pt idx="44">
                  <c:v>4016.5221781715704</c:v>
                </c:pt>
                <c:pt idx="45">
                  <c:v>4089.4851377177802</c:v>
                </c:pt>
                <c:pt idx="46">
                  <c:v>4161.8257056206967</c:v>
                </c:pt>
                <c:pt idx="47">
                  <c:v>4233.550097551255</c:v>
                </c:pt>
                <c:pt idx="48">
                  <c:v>4304.7130330725149</c:v>
                </c:pt>
                <c:pt idx="49">
                  <c:v>4375.33956978887</c:v>
                </c:pt>
                <c:pt idx="50">
                  <c:v>4445.4007386637004</c:v>
                </c:pt>
                <c:pt idx="51">
                  <c:v>4514.8903978565031</c:v>
                </c:pt>
                <c:pt idx="52">
                  <c:v>4583.8181865724</c:v>
                </c:pt>
                <c:pt idx="53">
                  <c:v>4652.1890949972403</c:v>
                </c:pt>
                <c:pt idx="54">
                  <c:v>4720.0084796383853</c:v>
                </c:pt>
                <c:pt idx="55">
                  <c:v>4787.2824222925537</c:v>
                </c:pt>
                <c:pt idx="56">
                  <c:v>4854.0181112486543</c:v>
                </c:pt>
                <c:pt idx="57">
                  <c:v>4920.2174882667359</c:v>
                </c:pt>
                <c:pt idx="58">
                  <c:v>4985.8939345427125</c:v>
                </c:pt>
                <c:pt idx="59">
                  <c:v>5051.0398948887714</c:v>
                </c:pt>
                <c:pt idx="60">
                  <c:v>5115.6641017245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040.1294798587551</c:v>
                </c:pt>
                <c:pt idx="32">
                  <c:v>3120.7807207659862</c:v>
                </c:pt>
                <c:pt idx="33">
                  <c:v>3202.055269075177</c:v>
                </c:pt>
                <c:pt idx="34">
                  <c:v>3284.0019839117081</c:v>
                </c:pt>
                <c:pt idx="35">
                  <c:v>3367.7403011022211</c:v>
                </c:pt>
                <c:pt idx="36">
                  <c:v>3453.6694232233131</c:v>
                </c:pt>
                <c:pt idx="37">
                  <c:v>3542.0745806925484</c:v>
                </c:pt>
                <c:pt idx="38">
                  <c:v>3633.1554572365899</c:v>
                </c:pt>
                <c:pt idx="39">
                  <c:v>3726.0331067042289</c:v>
                </c:pt>
                <c:pt idx="40">
                  <c:v>3820.2879042681366</c:v>
                </c:pt>
                <c:pt idx="41">
                  <c:v>3916.1026719604765</c:v>
                </c:pt>
                <c:pt idx="42">
                  <c:v>4013.9230692458523</c:v>
                </c:pt>
                <c:pt idx="43">
                  <c:v>4113.8284684934761</c:v>
                </c:pt>
                <c:pt idx="44">
                  <c:v>4215.7157398479703</c:v>
                </c:pt>
                <c:pt idx="45">
                  <c:v>4319.4419898302058</c:v>
                </c:pt>
                <c:pt idx="46">
                  <c:v>4424.889657093885</c:v>
                </c:pt>
                <c:pt idx="47">
                  <c:v>4532.1705992872094</c:v>
                </c:pt>
                <c:pt idx="48">
                  <c:v>4641.4762574007091</c:v>
                </c:pt>
                <c:pt idx="49">
                  <c:v>4752.8941182459002</c:v>
                </c:pt>
                <c:pt idx="50">
                  <c:v>4866.3577994529833</c:v>
                </c:pt>
                <c:pt idx="51">
                  <c:v>4981.841085626852</c:v>
                </c:pt>
                <c:pt idx="52">
                  <c:v>5099.3687417032224</c:v>
                </c:pt>
                <c:pt idx="53">
                  <c:v>5219.0171329506411</c:v>
                </c:pt>
                <c:pt idx="54">
                  <c:v>5340.865729397914</c:v>
                </c:pt>
                <c:pt idx="55">
                  <c:v>5464.9621466211665</c:v>
                </c:pt>
                <c:pt idx="56">
                  <c:v>5591.3175610190528</c:v>
                </c:pt>
                <c:pt idx="57">
                  <c:v>5719.939660510192</c:v>
                </c:pt>
                <c:pt idx="58">
                  <c:v>5850.8686639828302</c:v>
                </c:pt>
                <c:pt idx="59">
                  <c:v>5984.1683334927302</c:v>
                </c:pt>
                <c:pt idx="60">
                  <c:v>6119.9028477446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6</c:v>
                </c:pt>
                <c:pt idx="1">
                  <c:v>100</c:v>
                </c:pt>
                <c:pt idx="2">
                  <c:v>146</c:v>
                </c:pt>
                <c:pt idx="3">
                  <c:v>188</c:v>
                </c:pt>
                <c:pt idx="4">
                  <c:v>235</c:v>
                </c:pt>
                <c:pt idx="5">
                  <c:v>265</c:v>
                </c:pt>
                <c:pt idx="6">
                  <c:v>304</c:v>
                </c:pt>
                <c:pt idx="7">
                  <c:v>356</c:v>
                </c:pt>
                <c:pt idx="8">
                  <c:v>415</c:v>
                </c:pt>
                <c:pt idx="9">
                  <c:v>482</c:v>
                </c:pt>
                <c:pt idx="10">
                  <c:v>532</c:v>
                </c:pt>
                <c:pt idx="11">
                  <c:v>579</c:v>
                </c:pt>
                <c:pt idx="12">
                  <c:v>610</c:v>
                </c:pt>
                <c:pt idx="13">
                  <c:v>659</c:v>
                </c:pt>
                <c:pt idx="14">
                  <c:v>716</c:v>
                </c:pt>
                <c:pt idx="15">
                  <c:v>765</c:v>
                </c:pt>
                <c:pt idx="16">
                  <c:v>811</c:v>
                </c:pt>
                <c:pt idx="17">
                  <c:v>864</c:v>
                </c:pt>
                <c:pt idx="18">
                  <c:v>917</c:v>
                </c:pt>
                <c:pt idx="19">
                  <c:v>943</c:v>
                </c:pt>
                <c:pt idx="20">
                  <c:v>981</c:v>
                </c:pt>
                <c:pt idx="21">
                  <c:v>1028</c:v>
                </c:pt>
                <c:pt idx="22">
                  <c:v>1069</c:v>
                </c:pt>
                <c:pt idx="23">
                  <c:v>1099</c:v>
                </c:pt>
                <c:pt idx="24">
                  <c:v>1130</c:v>
                </c:pt>
                <c:pt idx="25">
                  <c:v>1168</c:v>
                </c:pt>
                <c:pt idx="26">
                  <c:v>1203</c:v>
                </c:pt>
                <c:pt idx="27">
                  <c:v>1231</c:v>
                </c:pt>
                <c:pt idx="28">
                  <c:v>1268</c:v>
                </c:pt>
                <c:pt idx="29">
                  <c:v>1303</c:v>
                </c:pt>
                <c:pt idx="30">
                  <c:v>1344</c:v>
                </c:pt>
                <c:pt idx="31">
                  <c:v>1374</c:v>
                </c:pt>
                <c:pt idx="32">
                  <c:v>1402</c:v>
                </c:pt>
                <c:pt idx="33">
                  <c:v>1426</c:v>
                </c:pt>
                <c:pt idx="34">
                  <c:v>1457</c:v>
                </c:pt>
                <c:pt idx="35">
                  <c:v>1479</c:v>
                </c:pt>
                <c:pt idx="36">
                  <c:v>1509</c:v>
                </c:pt>
                <c:pt idx="37">
                  <c:v>1540</c:v>
                </c:pt>
                <c:pt idx="38">
                  <c:v>1561</c:v>
                </c:pt>
                <c:pt idx="39">
                  <c:v>1600</c:v>
                </c:pt>
                <c:pt idx="40">
                  <c:v>1617</c:v>
                </c:pt>
                <c:pt idx="41">
                  <c:v>1650</c:v>
                </c:pt>
                <c:pt idx="42">
                  <c:v>1681</c:v>
                </c:pt>
                <c:pt idx="43">
                  <c:v>1711</c:v>
                </c:pt>
                <c:pt idx="44">
                  <c:v>1744</c:v>
                </c:pt>
                <c:pt idx="45">
                  <c:v>1768</c:v>
                </c:pt>
                <c:pt idx="46">
                  <c:v>1793</c:v>
                </c:pt>
                <c:pt idx="47">
                  <c:v>1809</c:v>
                </c:pt>
                <c:pt idx="48">
                  <c:v>1830</c:v>
                </c:pt>
                <c:pt idx="49">
                  <c:v>1850</c:v>
                </c:pt>
                <c:pt idx="50">
                  <c:v>1870</c:v>
                </c:pt>
                <c:pt idx="51">
                  <c:v>1903</c:v>
                </c:pt>
                <c:pt idx="52">
                  <c:v>1920</c:v>
                </c:pt>
                <c:pt idx="53">
                  <c:v>1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369.0956271594589</c:v>
                </c:pt>
                <c:pt idx="32">
                  <c:v>1398.892141850243</c:v>
                </c:pt>
                <c:pt idx="33">
                  <c:v>1427.6153981689545</c:v>
                </c:pt>
                <c:pt idx="34">
                  <c:v>1455.663622971409</c:v>
                </c:pt>
                <c:pt idx="35">
                  <c:v>1483.1375286373056</c:v>
                </c:pt>
                <c:pt idx="36">
                  <c:v>1509.8574222028849</c:v>
                </c:pt>
                <c:pt idx="37">
                  <c:v>1535.696154332521</c:v>
                </c:pt>
                <c:pt idx="38">
                  <c:v>1560.5675489444086</c:v>
                </c:pt>
                <c:pt idx="39">
                  <c:v>1584.4725276239794</c:v>
                </c:pt>
                <c:pt idx="40">
                  <c:v>1607.386334454995</c:v>
                </c:pt>
                <c:pt idx="41">
                  <c:v>1629.3295913168295</c:v>
                </c:pt>
                <c:pt idx="42">
                  <c:v>1650.2927480909934</c:v>
                </c:pt>
                <c:pt idx="43">
                  <c:v>1670.2832670587538</c:v>
                </c:pt>
                <c:pt idx="44">
                  <c:v>1689.3363480245471</c:v>
                </c:pt>
                <c:pt idx="45">
                  <c:v>1707.4978268879088</c:v>
                </c:pt>
                <c:pt idx="46">
                  <c:v>1724.8093671505635</c:v>
                </c:pt>
                <c:pt idx="47">
                  <c:v>1741.2980031486927</c:v>
                </c:pt>
                <c:pt idx="48">
                  <c:v>1756.9989938180227</c:v>
                </c:pt>
                <c:pt idx="49">
                  <c:v>1771.9429880488849</c:v>
                </c:pt>
                <c:pt idx="50">
                  <c:v>1786.1661992412803</c:v>
                </c:pt>
                <c:pt idx="51">
                  <c:v>1799.7146097208854</c:v>
                </c:pt>
                <c:pt idx="52">
                  <c:v>1812.6244770160183</c:v>
                </c:pt>
                <c:pt idx="53">
                  <c:v>1824.9249226222</c:v>
                </c:pt>
                <c:pt idx="54">
                  <c:v>1836.6388287481388</c:v>
                </c:pt>
                <c:pt idx="55">
                  <c:v>1847.7930586545208</c:v>
                </c:pt>
                <c:pt idx="56">
                  <c:v>1858.420046927017</c:v>
                </c:pt>
                <c:pt idx="57">
                  <c:v>1868.5489647992258</c:v>
                </c:pt>
                <c:pt idx="58">
                  <c:v>1878.208363209294</c:v>
                </c:pt>
                <c:pt idx="59">
                  <c:v>1887.4164816601815</c:v>
                </c:pt>
                <c:pt idx="60">
                  <c:v>1896.1955418544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369.7873569650985</c:v>
                </c:pt>
                <c:pt idx="32">
                  <c:v>1400.8311228554057</c:v>
                </c:pt>
                <c:pt idx="33">
                  <c:v>1431.1832357950589</c:v>
                </c:pt>
                <c:pt idx="34">
                  <c:v>1461.1353619078579</c:v>
                </c:pt>
                <c:pt idx="35">
                  <c:v>1490.8506501652405</c:v>
                </c:pt>
                <c:pt idx="36">
                  <c:v>1520.2146139447136</c:v>
                </c:pt>
                <c:pt idx="37">
                  <c:v>1549.1463135503839</c:v>
                </c:pt>
                <c:pt idx="38">
                  <c:v>1577.5918307394893</c:v>
                </c:pt>
                <c:pt idx="39">
                  <c:v>1605.4541945771844</c:v>
                </c:pt>
                <c:pt idx="40">
                  <c:v>1632.6546990908876</c:v>
                </c:pt>
                <c:pt idx="41">
                  <c:v>1659.1988711661604</c:v>
                </c:pt>
                <c:pt idx="42">
                  <c:v>1685.089035205596</c:v>
                </c:pt>
                <c:pt idx="43">
                  <c:v>1710.3156203419769</c:v>
                </c:pt>
                <c:pt idx="44">
                  <c:v>1734.8867252097441</c:v>
                </c:pt>
                <c:pt idx="45">
                  <c:v>1758.8116008910799</c:v>
                </c:pt>
                <c:pt idx="46">
                  <c:v>1782.0917832570976</c:v>
                </c:pt>
                <c:pt idx="47">
                  <c:v>1804.7372312712705</c:v>
                </c:pt>
                <c:pt idx="48">
                  <c:v>1826.7689899687114</c:v>
                </c:pt>
                <c:pt idx="49">
                  <c:v>1848.2022655866501</c:v>
                </c:pt>
                <c:pt idx="50">
                  <c:v>1869.0519403874932</c:v>
                </c:pt>
                <c:pt idx="51">
                  <c:v>1889.3379379876521</c:v>
                </c:pt>
                <c:pt idx="52">
                  <c:v>1909.077935345407</c:v>
                </c:pt>
                <c:pt idx="53">
                  <c:v>1928.2840432893286</c:v>
                </c:pt>
                <c:pt idx="54">
                  <c:v>1946.9674020467867</c:v>
                </c:pt>
                <c:pt idx="55">
                  <c:v>1965.1428119566976</c:v>
                </c:pt>
                <c:pt idx="56">
                  <c:v>1982.8263559475695</c:v>
                </c:pt>
                <c:pt idx="57">
                  <c:v>2000.0344912211162</c:v>
                </c:pt>
                <c:pt idx="58">
                  <c:v>2016.7842791994349</c:v>
                </c:pt>
                <c:pt idx="59">
                  <c:v>2033.0829977524349</c:v>
                </c:pt>
                <c:pt idx="60">
                  <c:v>2048.9445413290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370.4790867707377</c:v>
                </c:pt>
                <c:pt idx="32">
                  <c:v>1402.7722791115289</c:v>
                </c:pt>
                <c:pt idx="33">
                  <c:v>1434.7580737800693</c:v>
                </c:pt>
                <c:pt idx="34">
                  <c:v>1466.6174229998639</c:v>
                </c:pt>
                <c:pt idx="35">
                  <c:v>1498.6121369413324</c:v>
                </c:pt>
                <c:pt idx="36">
                  <c:v>1530.718210975723</c:v>
                </c:pt>
                <c:pt idx="37">
                  <c:v>1562.923118294224</c:v>
                </c:pt>
                <c:pt idx="38">
                  <c:v>1595.2175745469956</c:v>
                </c:pt>
                <c:pt idx="39">
                  <c:v>1627.4029008635025</c:v>
                </c:pt>
                <c:pt idx="40">
                  <c:v>1659.3464298820777</c:v>
                </c:pt>
                <c:pt idx="41">
                  <c:v>1691.0609711346774</c:v>
                </c:pt>
                <c:pt idx="42">
                  <c:v>1722.591757797052</c:v>
                </c:pt>
                <c:pt idx="43">
                  <c:v>1753.9361193205159</c:v>
                </c:pt>
                <c:pt idx="44">
                  <c:v>1785.0718685798838</c:v>
                </c:pt>
                <c:pt idx="45">
                  <c:v>1815.9736528252524</c:v>
                </c:pt>
                <c:pt idx="46">
                  <c:v>1846.6117857603861</c:v>
                </c:pt>
                <c:pt idx="47">
                  <c:v>1876.9889066225587</c:v>
                </c:pt>
                <c:pt idx="48">
                  <c:v>1907.1281859415899</c:v>
                </c:pt>
                <c:pt idx="49">
                  <c:v>1937.0402351480489</c:v>
                </c:pt>
                <c:pt idx="50">
                  <c:v>1966.7128583045351</c:v>
                </c:pt>
                <c:pt idx="51">
                  <c:v>1996.1434753007418</c:v>
                </c:pt>
                <c:pt idx="52">
                  <c:v>2025.3361675920457</c:v>
                </c:pt>
                <c:pt idx="53">
                  <c:v>2054.2929762571976</c:v>
                </c:pt>
                <c:pt idx="54">
                  <c:v>2083.0162138981509</c:v>
                </c:pt>
                <c:pt idx="55">
                  <c:v>2111.5084393793591</c:v>
                </c:pt>
                <c:pt idx="56">
                  <c:v>2139.7726495751576</c:v>
                </c:pt>
                <c:pt idx="57">
                  <c:v>2167.8097169453413</c:v>
                </c:pt>
                <c:pt idx="58">
                  <c:v>2195.6253327619934</c:v>
                </c:pt>
                <c:pt idx="59">
                  <c:v>2223.2162743415342</c:v>
                </c:pt>
                <c:pt idx="60">
                  <c:v>2250.5862442924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371.5188567301577</c:v>
                </c:pt>
                <c:pt idx="32">
                  <c:v>1405.6855757272162</c:v>
                </c:pt>
                <c:pt idx="33">
                  <c:v>1440.1175025177981</c:v>
                </c:pt>
                <c:pt idx="34">
                  <c:v>1474.8335701957249</c:v>
                </c:pt>
                <c:pt idx="35">
                  <c:v>1510.3073258471325</c:v>
                </c:pt>
                <c:pt idx="36">
                  <c:v>1546.7078651471604</c:v>
                </c:pt>
                <c:pt idx="37">
                  <c:v>1584.1568809709297</c:v>
                </c:pt>
                <c:pt idx="38">
                  <c:v>1622.7393859184795</c:v>
                </c:pt>
                <c:pt idx="39">
                  <c:v>1662.0825781744863</c:v>
                </c:pt>
                <c:pt idx="40">
                  <c:v>1702.0085985595022</c:v>
                </c:pt>
                <c:pt idx="41">
                  <c:v>1742.5950844606273</c:v>
                </c:pt>
                <c:pt idx="42">
                  <c:v>1784.0312356508557</c:v>
                </c:pt>
                <c:pt idx="43">
                  <c:v>1826.3507983332058</c:v>
                </c:pt>
                <c:pt idx="44">
                  <c:v>1869.509879355604</c:v>
                </c:pt>
                <c:pt idx="45">
                  <c:v>1913.4480079278217</c:v>
                </c:pt>
                <c:pt idx="46">
                  <c:v>1958.115211911663</c:v>
                </c:pt>
                <c:pt idx="47">
                  <c:v>2003.5589171147556</c:v>
                </c:pt>
                <c:pt idx="48">
                  <c:v>2049.8602774473775</c:v>
                </c:pt>
                <c:pt idx="49">
                  <c:v>2097.056351710447</c:v>
                </c:pt>
                <c:pt idx="50">
                  <c:v>2145.1190529524411</c:v>
                </c:pt>
                <c:pt idx="51">
                  <c:v>2194.0372622790483</c:v>
                </c:pt>
                <c:pt idx="52">
                  <c:v>2243.8214686675619</c:v>
                </c:pt>
                <c:pt idx="53">
                  <c:v>2294.5039733067106</c:v>
                </c:pt>
                <c:pt idx="54">
                  <c:v>2346.1185042946372</c:v>
                </c:pt>
                <c:pt idx="55">
                  <c:v>2398.6852175115191</c:v>
                </c:pt>
                <c:pt idx="56">
                  <c:v>2452.2087729621185</c:v>
                </c:pt>
                <c:pt idx="57">
                  <c:v>2506.6924644235314</c:v>
                </c:pt>
                <c:pt idx="58">
                  <c:v>2562.1533462224888</c:v>
                </c:pt>
                <c:pt idx="59">
                  <c:v>2618.6184290174688</c:v>
                </c:pt>
                <c:pt idx="60">
                  <c:v>2676.11491400028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</c:v>
                </c:pt>
                <c:pt idx="1">
                  <c:v>62</c:v>
                </c:pt>
                <c:pt idx="2">
                  <c:v>100</c:v>
                </c:pt>
                <c:pt idx="3">
                  <c:v>140</c:v>
                </c:pt>
                <c:pt idx="4">
                  <c:v>168</c:v>
                </c:pt>
                <c:pt idx="5">
                  <c:v>188</c:v>
                </c:pt>
                <c:pt idx="6">
                  <c:v>203</c:v>
                </c:pt>
                <c:pt idx="7">
                  <c:v>226</c:v>
                </c:pt>
                <c:pt idx="8">
                  <c:v>256</c:v>
                </c:pt>
                <c:pt idx="9">
                  <c:v>283</c:v>
                </c:pt>
                <c:pt idx="10">
                  <c:v>311</c:v>
                </c:pt>
                <c:pt idx="11">
                  <c:v>343</c:v>
                </c:pt>
                <c:pt idx="12">
                  <c:v>372</c:v>
                </c:pt>
                <c:pt idx="13">
                  <c:v>403</c:v>
                </c:pt>
                <c:pt idx="14">
                  <c:v>443</c:v>
                </c:pt>
                <c:pt idx="15">
                  <c:v>474</c:v>
                </c:pt>
                <c:pt idx="16">
                  <c:v>509</c:v>
                </c:pt>
                <c:pt idx="17">
                  <c:v>550</c:v>
                </c:pt>
                <c:pt idx="18">
                  <c:v>589</c:v>
                </c:pt>
                <c:pt idx="19">
                  <c:v>605</c:v>
                </c:pt>
                <c:pt idx="20">
                  <c:v>624</c:v>
                </c:pt>
                <c:pt idx="21">
                  <c:v>666</c:v>
                </c:pt>
                <c:pt idx="22">
                  <c:v>698</c:v>
                </c:pt>
                <c:pt idx="23">
                  <c:v>741</c:v>
                </c:pt>
                <c:pt idx="24">
                  <c:v>773</c:v>
                </c:pt>
                <c:pt idx="25">
                  <c:v>807</c:v>
                </c:pt>
                <c:pt idx="26">
                  <c:v>839</c:v>
                </c:pt>
                <c:pt idx="27">
                  <c:v>873</c:v>
                </c:pt>
                <c:pt idx="28">
                  <c:v>914</c:v>
                </c:pt>
                <c:pt idx="29">
                  <c:v>951</c:v>
                </c:pt>
                <c:pt idx="30">
                  <c:v>978</c:v>
                </c:pt>
                <c:pt idx="31">
                  <c:v>1013</c:v>
                </c:pt>
                <c:pt idx="32">
                  <c:v>1048</c:v>
                </c:pt>
                <c:pt idx="33">
                  <c:v>1076</c:v>
                </c:pt>
                <c:pt idx="34">
                  <c:v>1125</c:v>
                </c:pt>
                <c:pt idx="35">
                  <c:v>1155</c:v>
                </c:pt>
                <c:pt idx="36">
                  <c:v>1181</c:v>
                </c:pt>
                <c:pt idx="37">
                  <c:v>1216</c:v>
                </c:pt>
                <c:pt idx="38">
                  <c:v>1246</c:v>
                </c:pt>
                <c:pt idx="39">
                  <c:v>1286</c:v>
                </c:pt>
                <c:pt idx="40">
                  <c:v>1310</c:v>
                </c:pt>
                <c:pt idx="41">
                  <c:v>1330</c:v>
                </c:pt>
                <c:pt idx="42">
                  <c:v>1353</c:v>
                </c:pt>
                <c:pt idx="43">
                  <c:v>1384</c:v>
                </c:pt>
                <c:pt idx="44">
                  <c:v>1410</c:v>
                </c:pt>
                <c:pt idx="45">
                  <c:v>1450</c:v>
                </c:pt>
                <c:pt idx="46">
                  <c:v>1475</c:v>
                </c:pt>
                <c:pt idx="47">
                  <c:v>1507</c:v>
                </c:pt>
                <c:pt idx="48">
                  <c:v>1531</c:v>
                </c:pt>
                <c:pt idx="49">
                  <c:v>1563</c:v>
                </c:pt>
                <c:pt idx="50">
                  <c:v>1588</c:v>
                </c:pt>
                <c:pt idx="51">
                  <c:v>1621</c:v>
                </c:pt>
                <c:pt idx="52">
                  <c:v>1648</c:v>
                </c:pt>
                <c:pt idx="53">
                  <c:v>1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98.12008503607058</c:v>
                </c:pt>
                <c:pt idx="32">
                  <c:v>1026.0265533160675</c:v>
                </c:pt>
                <c:pt idx="33">
                  <c:v>1052.9223215730171</c:v>
                </c:pt>
                <c:pt idx="34">
                  <c:v>1079.1707370377642</c:v>
                </c:pt>
                <c:pt idx="35">
                  <c:v>1104.8561818246662</c:v>
                </c:pt>
                <c:pt idx="36">
                  <c:v>1129.809770333638</c:v>
                </c:pt>
                <c:pt idx="37">
                  <c:v>1153.9244275336828</c:v>
                </c:pt>
                <c:pt idx="38">
                  <c:v>1177.1268789961259</c:v>
                </c:pt>
                <c:pt idx="39">
                  <c:v>1199.420828812056</c:v>
                </c:pt>
                <c:pt idx="40">
                  <c:v>1220.7854772740466</c:v>
                </c:pt>
                <c:pt idx="41">
                  <c:v>1241.2413082236587</c:v>
                </c:pt>
                <c:pt idx="42">
                  <c:v>1260.7817970740261</c:v>
                </c:pt>
                <c:pt idx="43">
                  <c:v>1279.4153574593699</c:v>
                </c:pt>
                <c:pt idx="44">
                  <c:v>1297.1739168309582</c:v>
                </c:pt>
                <c:pt idx="45">
                  <c:v>1314.1024538492043</c:v>
                </c:pt>
                <c:pt idx="46">
                  <c:v>1330.2386485971822</c:v>
                </c:pt>
                <c:pt idx="47">
                  <c:v>1345.6076009541243</c:v>
                </c:pt>
                <c:pt idx="48">
                  <c:v>1360.2414834728529</c:v>
                </c:pt>
                <c:pt idx="49">
                  <c:v>1374.1687142460164</c:v>
                </c:pt>
                <c:pt idx="50">
                  <c:v>1387.4243197714936</c:v>
                </c:pt>
                <c:pt idx="51">
                  <c:v>1400.0519100941472</c:v>
                </c:pt>
                <c:pt idx="52">
                  <c:v>1412.0851582497107</c:v>
                </c:pt>
                <c:pt idx="53">
                  <c:v>1423.5501339660859</c:v>
                </c:pt>
                <c:pt idx="54">
                  <c:v>1434.4686044871714</c:v>
                </c:pt>
                <c:pt idx="55">
                  <c:v>1444.8653149694917</c:v>
                </c:pt>
                <c:pt idx="56">
                  <c:v>1454.7700918461364</c:v>
                </c:pt>
                <c:pt idx="57">
                  <c:v>1464.210815778612</c:v>
                </c:pt>
                <c:pt idx="58">
                  <c:v>1473.2144261621261</c:v>
                </c:pt>
                <c:pt idx="59">
                  <c:v>1481.797580809771</c:v>
                </c:pt>
                <c:pt idx="60">
                  <c:v>1489.9809770897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998.78264366303233</c:v>
                </c:pt>
                <c:pt idx="32">
                  <c:v>1027.8835825105841</c:v>
                </c:pt>
                <c:pt idx="33">
                  <c:v>1056.337332839194</c:v>
                </c:pt>
                <c:pt idx="34">
                  <c:v>1084.403589071833</c:v>
                </c:pt>
                <c:pt idx="35">
                  <c:v>1112.2248960826641</c:v>
                </c:pt>
                <c:pt idx="36">
                  <c:v>1139.6929377742604</c:v>
                </c:pt>
                <c:pt idx="37">
                  <c:v>1166.7434156172528</c:v>
                </c:pt>
                <c:pt idx="38">
                  <c:v>1193.3326582759544</c:v>
                </c:pt>
                <c:pt idx="39">
                  <c:v>1219.3704086959863</c:v>
                </c:pt>
                <c:pt idx="40">
                  <c:v>1244.7843939739703</c:v>
                </c:pt>
                <c:pt idx="41">
                  <c:v>1269.5811763404679</c:v>
                </c:pt>
                <c:pt idx="42">
                  <c:v>1293.7658637988739</c:v>
                </c:pt>
                <c:pt idx="43">
                  <c:v>1317.3309629334412</c:v>
                </c:pt>
                <c:pt idx="44">
                  <c:v>1340.2828965242297</c:v>
                </c:pt>
                <c:pt idx="45">
                  <c:v>1362.6322999342563</c:v>
                </c:pt>
                <c:pt idx="46">
                  <c:v>1384.3790973194482</c:v>
                </c:pt>
                <c:pt idx="47">
                  <c:v>1405.5325801535653</c:v>
                </c:pt>
                <c:pt idx="48">
                  <c:v>1426.1119599751578</c:v>
                </c:pt>
                <c:pt idx="49">
                  <c:v>1446.1313289540838</c:v>
                </c:pt>
                <c:pt idx="50">
                  <c:v>1465.6058348521651</c:v>
                </c:pt>
                <c:pt idx="51">
                  <c:v>1484.5545977648862</c:v>
                </c:pt>
                <c:pt idx="52">
                  <c:v>1502.9940342274163</c:v>
                </c:pt>
                <c:pt idx="53">
                  <c:v>1520.9344001788402</c:v>
                </c:pt>
                <c:pt idx="54">
                  <c:v>1538.3866177553357</c:v>
                </c:pt>
                <c:pt idx="55">
                  <c:v>1555.3642821204285</c:v>
                </c:pt>
                <c:pt idx="56">
                  <c:v>1571.881870398413</c:v>
                </c:pt>
                <c:pt idx="57">
                  <c:v>1587.9554612834002</c:v>
                </c:pt>
                <c:pt idx="58">
                  <c:v>1603.6013151590703</c:v>
                </c:pt>
                <c:pt idx="59">
                  <c:v>1618.8258991221801</c:v>
                </c:pt>
                <c:pt idx="60">
                  <c:v>1633.6422289084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99.44520228999386</c:v>
                </c:pt>
                <c:pt idx="32">
                  <c:v>1029.742695222795</c:v>
                </c:pt>
                <c:pt idx="33">
                  <c:v>1059.7590486762208</c:v>
                </c:pt>
                <c:pt idx="34">
                  <c:v>1089.6463202844548</c:v>
                </c:pt>
                <c:pt idx="35">
                  <c:v>1119.639908190944</c:v>
                </c:pt>
                <c:pt idx="36">
                  <c:v>1149.7162678090874</c:v>
                </c:pt>
                <c:pt idx="37">
                  <c:v>1179.8750405594158</c:v>
                </c:pt>
                <c:pt idx="38">
                  <c:v>1210.1138381473631</c:v>
                </c:pt>
                <c:pt idx="39">
                  <c:v>1240.2445282648282</c:v>
                </c:pt>
                <c:pt idx="40">
                  <c:v>1270.1430110339352</c:v>
                </c:pt>
                <c:pt idx="41">
                  <c:v>1299.8230026665619</c:v>
                </c:pt>
                <c:pt idx="42">
                  <c:v>1329.3305918212338</c:v>
                </c:pt>
                <c:pt idx="43">
                  <c:v>1358.6649336941709</c:v>
                </c:pt>
                <c:pt idx="44">
                  <c:v>1387.803548334557</c:v>
                </c:pt>
                <c:pt idx="45">
                  <c:v>1416.7243088772082</c:v>
                </c:pt>
                <c:pt idx="46">
                  <c:v>1445.397638539001</c:v>
                </c:pt>
                <c:pt idx="47">
                  <c:v>1473.8260962197512</c:v>
                </c:pt>
                <c:pt idx="48">
                  <c:v>1502.0313052462566</c:v>
                </c:pt>
                <c:pt idx="49">
                  <c:v>1530.0231817126548</c:v>
                </c:pt>
                <c:pt idx="50">
                  <c:v>1557.7912780206195</c:v>
                </c:pt>
                <c:pt idx="51">
                  <c:v>1585.3334582645289</c:v>
                </c:pt>
                <c:pt idx="52">
                  <c:v>1612.6535289414182</c:v>
                </c:pt>
                <c:pt idx="53">
                  <c:v>1639.752444774811</c:v>
                </c:pt>
                <c:pt idx="54">
                  <c:v>1666.6329504981541</c:v>
                </c:pt>
                <c:pt idx="55">
                  <c:v>1693.2972173563567</c:v>
                </c:pt>
                <c:pt idx="56">
                  <c:v>1719.7474224194625</c:v>
                </c:pt>
                <c:pt idx="57">
                  <c:v>1745.9850430493525</c:v>
                </c:pt>
                <c:pt idx="58">
                  <c:v>1772.0157220700723</c:v>
                </c:pt>
                <c:pt idx="59">
                  <c:v>1797.8361417298643</c:v>
                </c:pt>
                <c:pt idx="60">
                  <c:v>1823.4498226103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00.4411237481307</c:v>
                </c:pt>
                <c:pt idx="32">
                  <c:v>1032.5328600677233</c:v>
                </c:pt>
                <c:pt idx="33">
                  <c:v>1064.8889072185777</c:v>
                </c:pt>
                <c:pt idx="34">
                  <c:v>1097.5037557950877</c:v>
                </c:pt>
                <c:pt idx="35">
                  <c:v>1130.8131487063756</c:v>
                </c:pt>
                <c:pt idx="36">
                  <c:v>1164.9756396707753</c:v>
                </c:pt>
                <c:pt idx="37">
                  <c:v>1200.1168672769568</c:v>
                </c:pt>
                <c:pt idx="38">
                  <c:v>1236.3222163360813</c:v>
                </c:pt>
                <c:pt idx="39">
                  <c:v>1273.2355997551379</c:v>
                </c:pt>
                <c:pt idx="40">
                  <c:v>1310.6887558718199</c:v>
                </c:pt>
                <c:pt idx="41">
                  <c:v>1348.7570810800796</c:v>
                </c:pt>
                <c:pt idx="42">
                  <c:v>1387.6235976118057</c:v>
                </c:pt>
                <c:pt idx="43">
                  <c:v>1427.321602156077</c:v>
                </c:pt>
                <c:pt idx="44">
                  <c:v>1467.80717960738</c:v>
                </c:pt>
                <c:pt idx="45">
                  <c:v>1509.0243753150824</c:v>
                </c:pt>
                <c:pt idx="46">
                  <c:v>1550.9240222656949</c:v>
                </c:pt>
                <c:pt idx="47">
                  <c:v>1593.5511799685398</c:v>
                </c:pt>
                <c:pt idx="48">
                  <c:v>1636.9827695510112</c:v>
                </c:pt>
                <c:pt idx="49">
                  <c:v>1681.2535502725802</c:v>
                </c:pt>
                <c:pt idx="50">
                  <c:v>1726.3376023225396</c:v>
                </c:pt>
                <c:pt idx="51">
                  <c:v>1772.2243088880618</c:v>
                </c:pt>
                <c:pt idx="52">
                  <c:v>1818.9234912541961</c:v>
                </c:pt>
                <c:pt idx="53">
                  <c:v>1866.4648313095799</c:v>
                </c:pt>
                <c:pt idx="54">
                  <c:v>1914.8808239821487</c:v>
                </c:pt>
                <c:pt idx="55">
                  <c:v>1964.1901930888041</c:v>
                </c:pt>
                <c:pt idx="56">
                  <c:v>2014.396329840692</c:v>
                </c:pt>
                <c:pt idx="57">
                  <c:v>2065.5028148860765</c:v>
                </c:pt>
                <c:pt idx="58">
                  <c:v>2117.5258803436764</c:v>
                </c:pt>
                <c:pt idx="59">
                  <c:v>2170.4908805966052</c:v>
                </c:pt>
                <c:pt idx="60">
                  <c:v>2224.4235340542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09</c:v>
                </c:pt>
                <c:pt idx="1">
                  <c:v>792</c:v>
                </c:pt>
                <c:pt idx="2">
                  <c:v>797</c:v>
                </c:pt>
                <c:pt idx="3">
                  <c:v>818</c:v>
                </c:pt>
                <c:pt idx="4">
                  <c:v>826</c:v>
                </c:pt>
                <c:pt idx="5">
                  <c:v>819</c:v>
                </c:pt>
                <c:pt idx="6">
                  <c:v>844</c:v>
                </c:pt>
                <c:pt idx="7">
                  <c:v>932</c:v>
                </c:pt>
                <c:pt idx="8">
                  <c:v>924</c:v>
                </c:pt>
                <c:pt idx="9">
                  <c:v>919</c:v>
                </c:pt>
                <c:pt idx="10">
                  <c:v>935</c:v>
                </c:pt>
                <c:pt idx="11">
                  <c:v>933</c:v>
                </c:pt>
                <c:pt idx="12">
                  <c:v>894</c:v>
                </c:pt>
                <c:pt idx="13">
                  <c:v>909</c:v>
                </c:pt>
                <c:pt idx="14">
                  <c:v>989</c:v>
                </c:pt>
                <c:pt idx="15">
                  <c:v>950</c:v>
                </c:pt>
                <c:pt idx="16">
                  <c:v>930</c:v>
                </c:pt>
                <c:pt idx="17">
                  <c:v>923</c:v>
                </c:pt>
                <c:pt idx="18">
                  <c:v>893</c:v>
                </c:pt>
                <c:pt idx="19">
                  <c:v>812</c:v>
                </c:pt>
                <c:pt idx="20">
                  <c:v>839</c:v>
                </c:pt>
                <c:pt idx="21">
                  <c:v>888</c:v>
                </c:pt>
                <c:pt idx="22">
                  <c:v>864</c:v>
                </c:pt>
                <c:pt idx="23">
                  <c:v>825</c:v>
                </c:pt>
                <c:pt idx="24">
                  <c:v>787</c:v>
                </c:pt>
                <c:pt idx="25">
                  <c:v>780</c:v>
                </c:pt>
                <c:pt idx="26">
                  <c:v>730</c:v>
                </c:pt>
                <c:pt idx="27">
                  <c:v>716</c:v>
                </c:pt>
                <c:pt idx="28">
                  <c:v>771</c:v>
                </c:pt>
                <c:pt idx="29">
                  <c:v>738</c:v>
                </c:pt>
                <c:pt idx="30">
                  <c:v>688</c:v>
                </c:pt>
                <c:pt idx="31">
                  <c:v>661</c:v>
                </c:pt>
                <c:pt idx="32">
                  <c:v>589</c:v>
                </c:pt>
                <c:pt idx="33">
                  <c:v>581</c:v>
                </c:pt>
                <c:pt idx="34">
                  <c:v>585</c:v>
                </c:pt>
                <c:pt idx="35">
                  <c:v>577</c:v>
                </c:pt>
                <c:pt idx="36">
                  <c:v>603</c:v>
                </c:pt>
                <c:pt idx="37">
                  <c:v>561</c:v>
                </c:pt>
                <c:pt idx="38">
                  <c:v>526</c:v>
                </c:pt>
                <c:pt idx="39">
                  <c:v>513</c:v>
                </c:pt>
                <c:pt idx="40">
                  <c:v>457</c:v>
                </c:pt>
                <c:pt idx="41">
                  <c:v>449</c:v>
                </c:pt>
                <c:pt idx="42">
                  <c:v>466</c:v>
                </c:pt>
                <c:pt idx="43">
                  <c:v>438</c:v>
                </c:pt>
                <c:pt idx="44">
                  <c:v>416</c:v>
                </c:pt>
                <c:pt idx="45">
                  <c:v>387</c:v>
                </c:pt>
                <c:pt idx="46">
                  <c:v>368</c:v>
                </c:pt>
                <c:pt idx="47">
                  <c:v>327</c:v>
                </c:pt>
                <c:pt idx="48">
                  <c:v>339</c:v>
                </c:pt>
                <c:pt idx="49">
                  <c:v>352</c:v>
                </c:pt>
                <c:pt idx="50">
                  <c:v>315</c:v>
                </c:pt>
                <c:pt idx="51">
                  <c:v>294</c:v>
                </c:pt>
                <c:pt idx="52">
                  <c:v>274</c:v>
                </c:pt>
                <c:pt idx="53">
                  <c:v>242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59.42439225143391</c:v>
                </c:pt>
                <c:pt idx="32">
                  <c:v>643.5976602947344</c:v>
                </c:pt>
                <c:pt idx="33">
                  <c:v>627.43427291058708</c:v>
                </c:pt>
                <c:pt idx="34">
                  <c:v>611.78300299952457</c:v>
                </c:pt>
                <c:pt idx="35">
                  <c:v>596.39200978711051</c:v>
                </c:pt>
                <c:pt idx="36">
                  <c:v>580.96895477120449</c:v>
                </c:pt>
                <c:pt idx="37">
                  <c:v>565.72270802835169</c:v>
                </c:pt>
                <c:pt idx="38">
                  <c:v>550.36093513580511</c:v>
                </c:pt>
                <c:pt idx="39">
                  <c:v>534.63976763897483</c:v>
                </c:pt>
                <c:pt idx="40">
                  <c:v>518.8021966384232</c:v>
                </c:pt>
                <c:pt idx="41">
                  <c:v>502.99263180896639</c:v>
                </c:pt>
                <c:pt idx="42">
                  <c:v>486.96560583989992</c:v>
                </c:pt>
                <c:pt idx="43">
                  <c:v>470.63830297946549</c:v>
                </c:pt>
                <c:pt idx="44">
                  <c:v>454.21599080278963</c:v>
                </c:pt>
                <c:pt idx="45">
                  <c:v>437.8162695352417</c:v>
                </c:pt>
                <c:pt idx="46">
                  <c:v>421.58815796016944</c:v>
                </c:pt>
                <c:pt idx="47">
                  <c:v>405.59704945123508</c:v>
                </c:pt>
                <c:pt idx="48">
                  <c:v>389.83778222913423</c:v>
                </c:pt>
                <c:pt idx="49">
                  <c:v>374.18982175402095</c:v>
                </c:pt>
                <c:pt idx="50">
                  <c:v>358.73877197776631</c:v>
                </c:pt>
                <c:pt idx="51">
                  <c:v>343.64971899747815</c:v>
                </c:pt>
                <c:pt idx="52">
                  <c:v>328.96031286686099</c:v>
                </c:pt>
                <c:pt idx="53">
                  <c:v>314.72516869227667</c:v>
                </c:pt>
                <c:pt idx="54">
                  <c:v>300.92847182886652</c:v>
                </c:pt>
                <c:pt idx="55">
                  <c:v>287.6106422579893</c:v>
                </c:pt>
                <c:pt idx="56">
                  <c:v>274.72643185570087</c:v>
                </c:pt>
                <c:pt idx="57">
                  <c:v>262.30699081345182</c:v>
                </c:pt>
                <c:pt idx="58">
                  <c:v>250.3507650634817</c:v>
                </c:pt>
                <c:pt idx="59">
                  <c:v>238.84028933343745</c:v>
                </c:pt>
                <c:pt idx="60">
                  <c:v>227.8012374909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660.56147355652536</c:v>
                </c:pt>
                <c:pt idx="32">
                  <c:v>646.74841516524714</c:v>
                </c:pt>
                <c:pt idx="33">
                  <c:v>633.14453217678886</c:v>
                </c:pt>
                <c:pt idx="34">
                  <c:v>620.38246712437854</c:v>
                </c:pt>
                <c:pt idx="35">
                  <c:v>608.27963208509982</c:v>
                </c:pt>
                <c:pt idx="36">
                  <c:v>596.61963973650631</c:v>
                </c:pt>
                <c:pt idx="37">
                  <c:v>585.65237756031104</c:v>
                </c:pt>
                <c:pt idx="38">
                  <c:v>575.09546932010187</c:v>
                </c:pt>
                <c:pt idx="39">
                  <c:v>564.49807269011353</c:v>
                </c:pt>
                <c:pt idx="40">
                  <c:v>553.97815652456154</c:v>
                </c:pt>
                <c:pt idx="41">
                  <c:v>543.61789102585067</c:v>
                </c:pt>
                <c:pt idx="42">
                  <c:v>533.14535056467457</c:v>
                </c:pt>
                <c:pt idx="43">
                  <c:v>522.42060195337194</c:v>
                </c:pt>
                <c:pt idx="44">
                  <c:v>511.59185292670918</c:v>
                </c:pt>
                <c:pt idx="45">
                  <c:v>500.70841619446321</c:v>
                </c:pt>
                <c:pt idx="46">
                  <c:v>489.84274782843909</c:v>
                </c:pt>
                <c:pt idx="47">
                  <c:v>479.02890952273924</c:v>
                </c:pt>
                <c:pt idx="48">
                  <c:v>468.24271309916952</c:v>
                </c:pt>
                <c:pt idx="49">
                  <c:v>457.34936236245471</c:v>
                </c:pt>
                <c:pt idx="50">
                  <c:v>446.4139999988015</c:v>
                </c:pt>
                <c:pt idx="51">
                  <c:v>435.57170062074943</c:v>
                </c:pt>
                <c:pt idx="52">
                  <c:v>424.84053030556413</c:v>
                </c:pt>
                <c:pt idx="53">
                  <c:v>414.26217218620474</c:v>
                </c:pt>
                <c:pt idx="54">
                  <c:v>403.82669784315704</c:v>
                </c:pt>
                <c:pt idx="55">
                  <c:v>393.58356606484244</c:v>
                </c:pt>
                <c:pt idx="56">
                  <c:v>383.48784536720609</c:v>
                </c:pt>
                <c:pt idx="57">
                  <c:v>373.57411111204311</c:v>
                </c:pt>
                <c:pt idx="58">
                  <c:v>363.8468188612099</c:v>
                </c:pt>
                <c:pt idx="59">
                  <c:v>354.29530904727227</c:v>
                </c:pt>
                <c:pt idx="60">
                  <c:v>344.957697415377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61.69855486161691</c:v>
                </c:pt>
                <c:pt idx="32">
                  <c:v>649.90274576313425</c:v>
                </c:pt>
                <c:pt idx="33">
                  <c:v>638.86618374136776</c:v>
                </c:pt>
                <c:pt idx="34">
                  <c:v>628.9983650172569</c:v>
                </c:pt>
                <c:pt idx="35">
                  <c:v>620.24549530363549</c:v>
                </c:pt>
                <c:pt idx="36">
                  <c:v>612.50684113007014</c:v>
                </c:pt>
                <c:pt idx="37">
                  <c:v>606.10585981896622</c:v>
                </c:pt>
                <c:pt idx="38">
                  <c:v>600.78437310313188</c:v>
                </c:pt>
                <c:pt idx="39">
                  <c:v>595.87052876047937</c:v>
                </c:pt>
                <c:pt idx="40">
                  <c:v>591.34903246312888</c:v>
                </c:pt>
                <c:pt idx="41">
                  <c:v>587.26819658554859</c:v>
                </c:pt>
                <c:pt idx="42">
                  <c:v>583.37078971933408</c:v>
                </c:pt>
                <c:pt idx="43">
                  <c:v>579.48686358347754</c:v>
                </c:pt>
                <c:pt idx="44">
                  <c:v>575.68802555738876</c:v>
                </c:pt>
                <c:pt idx="45">
                  <c:v>571.943349922072</c:v>
                </c:pt>
                <c:pt idx="46">
                  <c:v>568.24705434661018</c:v>
                </c:pt>
                <c:pt idx="47">
                  <c:v>564.60113885397232</c:v>
                </c:pt>
                <c:pt idx="48">
                  <c:v>560.97236965191223</c:v>
                </c:pt>
                <c:pt idx="49">
                  <c:v>557.21242215362133</c:v>
                </c:pt>
                <c:pt idx="50">
                  <c:v>553.33949733886561</c:v>
                </c:pt>
                <c:pt idx="51">
                  <c:v>549.44825564911469</c:v>
                </c:pt>
                <c:pt idx="52">
                  <c:v>545.52920253883144</c:v>
                </c:pt>
                <c:pt idx="53">
                  <c:v>541.60653656944123</c:v>
                </c:pt>
                <c:pt idx="54">
                  <c:v>537.66593110634835</c:v>
                </c:pt>
                <c:pt idx="55">
                  <c:v>533.75176743496831</c:v>
                </c:pt>
                <c:pt idx="56">
                  <c:v>529.81153142939888</c:v>
                </c:pt>
                <c:pt idx="57">
                  <c:v>525.86546978635249</c:v>
                </c:pt>
                <c:pt idx="58">
                  <c:v>521.91224830396141</c:v>
                </c:pt>
                <c:pt idx="59">
                  <c:v>517.93810388684062</c:v>
                </c:pt>
                <c:pt idx="60">
                  <c:v>513.98141041925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63.40775254662879</c:v>
                </c:pt>
                <c:pt idx="32">
                  <c:v>654.63669463990607</c:v>
                </c:pt>
                <c:pt idx="33">
                  <c:v>647.44376556506654</c:v>
                </c:pt>
                <c:pt idx="34">
                  <c:v>641.91063840632421</c:v>
                </c:pt>
                <c:pt idx="35">
                  <c:v>638.28158742461903</c:v>
                </c:pt>
                <c:pt idx="36">
                  <c:v>636.72034667516687</c:v>
                </c:pt>
                <c:pt idx="37">
                  <c:v>637.70483113723242</c:v>
                </c:pt>
                <c:pt idx="38">
                  <c:v>641.04651704531466</c:v>
                </c:pt>
                <c:pt idx="39">
                  <c:v>645.69185568917578</c:v>
                </c:pt>
                <c:pt idx="40">
                  <c:v>651.46957553162406</c:v>
                </c:pt>
                <c:pt idx="41">
                  <c:v>658.44891347306066</c:v>
                </c:pt>
                <c:pt idx="42">
                  <c:v>666.50464353099585</c:v>
                </c:pt>
                <c:pt idx="43">
                  <c:v>675.43777949397179</c:v>
                </c:pt>
                <c:pt idx="44">
                  <c:v>685.21329734040864</c:v>
                </c:pt>
                <c:pt idx="45">
                  <c:v>695.67334422528575</c:v>
                </c:pt>
                <c:pt idx="46">
                  <c:v>706.70100336977089</c:v>
                </c:pt>
                <c:pt idx="47">
                  <c:v>718.30237913188807</c:v>
                </c:pt>
                <c:pt idx="48">
                  <c:v>730.47860019863629</c:v>
                </c:pt>
                <c:pt idx="49">
                  <c:v>743.07110641331394</c:v>
                </c:pt>
                <c:pt idx="50">
                  <c:v>756.02209560011886</c:v>
                </c:pt>
                <c:pt idx="51">
                  <c:v>769.35871836583101</c:v>
                </c:pt>
                <c:pt idx="52">
                  <c:v>783.02397366077685</c:v>
                </c:pt>
                <c:pt idx="53">
                  <c:v>797.03952606575911</c:v>
                </c:pt>
                <c:pt idx="54">
                  <c:v>811.407035269473</c:v>
                </c:pt>
                <c:pt idx="55">
                  <c:v>826.17018330348981</c:v>
                </c:pt>
                <c:pt idx="56">
                  <c:v>841.24620105121323</c:v>
                </c:pt>
                <c:pt idx="57">
                  <c:v>856.62130488294963</c:v>
                </c:pt>
                <c:pt idx="58">
                  <c:v>872.27720566219614</c:v>
                </c:pt>
                <c:pt idx="59">
                  <c:v>888.21714075192983</c:v>
                </c:pt>
                <c:pt idx="60">
                  <c:v>904.490249184630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8</c:v>
                </c:pt>
                <c:pt idx="1">
                  <c:v>628</c:v>
                </c:pt>
                <c:pt idx="2">
                  <c:v>628</c:v>
                </c:pt>
                <c:pt idx="3">
                  <c:v>628</c:v>
                </c:pt>
                <c:pt idx="4">
                  <c:v>628</c:v>
                </c:pt>
                <c:pt idx="5">
                  <c:v>628</c:v>
                </c:pt>
                <c:pt idx="6">
                  <c:v>628</c:v>
                </c:pt>
                <c:pt idx="7">
                  <c:v>628</c:v>
                </c:pt>
                <c:pt idx="8">
                  <c:v>628</c:v>
                </c:pt>
                <c:pt idx="9">
                  <c:v>628</c:v>
                </c:pt>
                <c:pt idx="10">
                  <c:v>628</c:v>
                </c:pt>
                <c:pt idx="11">
                  <c:v>628</c:v>
                </c:pt>
                <c:pt idx="12">
                  <c:v>628</c:v>
                </c:pt>
                <c:pt idx="13">
                  <c:v>628</c:v>
                </c:pt>
                <c:pt idx="14">
                  <c:v>628</c:v>
                </c:pt>
                <c:pt idx="15">
                  <c:v>628</c:v>
                </c:pt>
                <c:pt idx="16">
                  <c:v>628</c:v>
                </c:pt>
                <c:pt idx="17">
                  <c:v>628</c:v>
                </c:pt>
                <c:pt idx="18">
                  <c:v>628</c:v>
                </c:pt>
                <c:pt idx="19">
                  <c:v>628</c:v>
                </c:pt>
                <c:pt idx="20">
                  <c:v>628</c:v>
                </c:pt>
                <c:pt idx="21">
                  <c:v>628</c:v>
                </c:pt>
                <c:pt idx="22">
                  <c:v>628</c:v>
                </c:pt>
                <c:pt idx="23">
                  <c:v>628</c:v>
                </c:pt>
                <c:pt idx="24">
                  <c:v>628</c:v>
                </c:pt>
                <c:pt idx="25">
                  <c:v>628</c:v>
                </c:pt>
                <c:pt idx="26">
                  <c:v>628</c:v>
                </c:pt>
                <c:pt idx="27">
                  <c:v>628</c:v>
                </c:pt>
                <c:pt idx="28">
                  <c:v>628</c:v>
                </c:pt>
                <c:pt idx="29">
                  <c:v>628</c:v>
                </c:pt>
                <c:pt idx="30">
                  <c:v>628</c:v>
                </c:pt>
                <c:pt idx="31">
                  <c:v>628</c:v>
                </c:pt>
                <c:pt idx="32">
                  <c:v>628</c:v>
                </c:pt>
                <c:pt idx="33">
                  <c:v>628</c:v>
                </c:pt>
                <c:pt idx="34">
                  <c:v>628</c:v>
                </c:pt>
                <c:pt idx="35">
                  <c:v>628</c:v>
                </c:pt>
                <c:pt idx="36">
                  <c:v>628</c:v>
                </c:pt>
                <c:pt idx="37">
                  <c:v>628</c:v>
                </c:pt>
                <c:pt idx="38">
                  <c:v>628</c:v>
                </c:pt>
                <c:pt idx="39">
                  <c:v>628</c:v>
                </c:pt>
                <c:pt idx="40">
                  <c:v>628</c:v>
                </c:pt>
                <c:pt idx="41">
                  <c:v>628</c:v>
                </c:pt>
                <c:pt idx="42">
                  <c:v>628</c:v>
                </c:pt>
                <c:pt idx="43">
                  <c:v>628</c:v>
                </c:pt>
                <c:pt idx="44">
                  <c:v>628</c:v>
                </c:pt>
                <c:pt idx="45">
                  <c:v>628</c:v>
                </c:pt>
                <c:pt idx="46">
                  <c:v>628</c:v>
                </c:pt>
                <c:pt idx="47">
                  <c:v>628</c:v>
                </c:pt>
                <c:pt idx="48">
                  <c:v>628</c:v>
                </c:pt>
                <c:pt idx="49">
                  <c:v>628</c:v>
                </c:pt>
                <c:pt idx="50">
                  <c:v>628</c:v>
                </c:pt>
                <c:pt idx="51">
                  <c:v>628</c:v>
                </c:pt>
                <c:pt idx="52">
                  <c:v>628</c:v>
                </c:pt>
                <c:pt idx="53">
                  <c:v>628</c:v>
                </c:pt>
                <c:pt idx="54">
                  <c:v>628</c:v>
                </c:pt>
                <c:pt idx="55">
                  <c:v>628</c:v>
                </c:pt>
                <c:pt idx="56">
                  <c:v>628</c:v>
                </c:pt>
                <c:pt idx="57">
                  <c:v>628</c:v>
                </c:pt>
                <c:pt idx="58">
                  <c:v>628</c:v>
                </c:pt>
                <c:pt idx="59">
                  <c:v>628</c:v>
                </c:pt>
                <c:pt idx="60">
                  <c:v>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8</c:v>
                </c:pt>
                <c:pt idx="1">
                  <c:v>202</c:v>
                </c:pt>
                <c:pt idx="2">
                  <c:v>292</c:v>
                </c:pt>
                <c:pt idx="3">
                  <c:v>373</c:v>
                </c:pt>
                <c:pt idx="4">
                  <c:v>469</c:v>
                </c:pt>
                <c:pt idx="5">
                  <c:v>535</c:v>
                </c:pt>
                <c:pt idx="6">
                  <c:v>597</c:v>
                </c:pt>
                <c:pt idx="7">
                  <c:v>685</c:v>
                </c:pt>
                <c:pt idx="8">
                  <c:v>796</c:v>
                </c:pt>
                <c:pt idx="9">
                  <c:v>904</c:v>
                </c:pt>
                <c:pt idx="10">
                  <c:v>977</c:v>
                </c:pt>
                <c:pt idx="11">
                  <c:v>1069</c:v>
                </c:pt>
                <c:pt idx="12">
                  <c:v>1133</c:v>
                </c:pt>
                <c:pt idx="13">
                  <c:v>1194</c:v>
                </c:pt>
                <c:pt idx="14">
                  <c:v>1273</c:v>
                </c:pt>
                <c:pt idx="15">
                  <c:v>1354</c:v>
                </c:pt>
                <c:pt idx="16">
                  <c:v>1444</c:v>
                </c:pt>
                <c:pt idx="17">
                  <c:v>1535</c:v>
                </c:pt>
                <c:pt idx="18">
                  <c:v>1616</c:v>
                </c:pt>
                <c:pt idx="19">
                  <c:v>1669</c:v>
                </c:pt>
                <c:pt idx="20">
                  <c:v>1742</c:v>
                </c:pt>
                <c:pt idx="21">
                  <c:v>1851</c:v>
                </c:pt>
                <c:pt idx="22">
                  <c:v>1940</c:v>
                </c:pt>
                <c:pt idx="23">
                  <c:v>2020</c:v>
                </c:pt>
                <c:pt idx="24">
                  <c:v>2123</c:v>
                </c:pt>
                <c:pt idx="25">
                  <c:v>2201</c:v>
                </c:pt>
                <c:pt idx="26">
                  <c:v>2268</c:v>
                </c:pt>
                <c:pt idx="27">
                  <c:v>2325</c:v>
                </c:pt>
                <c:pt idx="28">
                  <c:v>2424</c:v>
                </c:pt>
                <c:pt idx="29">
                  <c:v>2507</c:v>
                </c:pt>
                <c:pt idx="30">
                  <c:v>2582</c:v>
                </c:pt>
                <c:pt idx="31">
                  <c:v>2662</c:v>
                </c:pt>
                <c:pt idx="32">
                  <c:v>2722</c:v>
                </c:pt>
                <c:pt idx="33">
                  <c:v>2788</c:v>
                </c:pt>
                <c:pt idx="34">
                  <c:v>2855</c:v>
                </c:pt>
                <c:pt idx="35">
                  <c:v>2900</c:v>
                </c:pt>
                <c:pt idx="36">
                  <c:v>2987</c:v>
                </c:pt>
                <c:pt idx="37">
                  <c:v>3062</c:v>
                </c:pt>
                <c:pt idx="38">
                  <c:v>3103</c:v>
                </c:pt>
                <c:pt idx="39">
                  <c:v>3173</c:v>
                </c:pt>
                <c:pt idx="40">
                  <c:v>3210</c:v>
                </c:pt>
                <c:pt idx="41">
                  <c:v>3247</c:v>
                </c:pt>
                <c:pt idx="42">
                  <c:v>3309</c:v>
                </c:pt>
                <c:pt idx="43">
                  <c:v>3367</c:v>
                </c:pt>
                <c:pt idx="44">
                  <c:v>3418</c:v>
                </c:pt>
                <c:pt idx="45">
                  <c:v>3475</c:v>
                </c:pt>
                <c:pt idx="46">
                  <c:v>3521</c:v>
                </c:pt>
                <c:pt idx="47">
                  <c:v>3551</c:v>
                </c:pt>
                <c:pt idx="48">
                  <c:v>3594</c:v>
                </c:pt>
                <c:pt idx="49">
                  <c:v>3646</c:v>
                </c:pt>
                <c:pt idx="50">
                  <c:v>3706</c:v>
                </c:pt>
                <c:pt idx="51">
                  <c:v>3739</c:v>
                </c:pt>
                <c:pt idx="52">
                  <c:v>3783</c:v>
                </c:pt>
                <c:pt idx="53">
                  <c:v>3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618.7896190827009</c:v>
                </c:pt>
                <c:pt idx="32">
                  <c:v>2680.8752877696011</c:v>
                </c:pt>
                <c:pt idx="33">
                  <c:v>2740.7193826365174</c:v>
                </c:pt>
                <c:pt idx="34">
                  <c:v>2799.1424824836395</c:v>
                </c:pt>
                <c:pt idx="35">
                  <c:v>2856.3449403878517</c:v>
                </c:pt>
                <c:pt idx="36">
                  <c:v>2911.9517737044453</c:v>
                </c:pt>
                <c:pt idx="37">
                  <c:v>2965.7095184060313</c:v>
                </c:pt>
                <c:pt idx="38">
                  <c:v>3017.445715716407</c:v>
                </c:pt>
                <c:pt idx="39">
                  <c:v>3067.1649996804931</c:v>
                </c:pt>
                <c:pt idx="40">
                  <c:v>3114.8180665839309</c:v>
                </c:pt>
                <c:pt idx="41">
                  <c:v>3160.4490029811232</c:v>
                </c:pt>
                <c:pt idx="42">
                  <c:v>3204.0402211385554</c:v>
                </c:pt>
                <c:pt idx="43">
                  <c:v>3245.6086307964224</c:v>
                </c:pt>
                <c:pt idx="44">
                  <c:v>3285.2265831904551</c:v>
                </c:pt>
                <c:pt idx="45">
                  <c:v>3322.9915429698758</c:v>
                </c:pt>
                <c:pt idx="46">
                  <c:v>3358.9890419046069</c:v>
                </c:pt>
                <c:pt idx="47">
                  <c:v>3393.2752004467225</c:v>
                </c:pt>
                <c:pt idx="48">
                  <c:v>3425.9226742687679</c:v>
                </c:pt>
                <c:pt idx="49">
                  <c:v>3456.9950512473074</c:v>
                </c:pt>
                <c:pt idx="50">
                  <c:v>3486.5688481068019</c:v>
                </c:pt>
                <c:pt idx="51">
                  <c:v>3514.7403962544572</c:v>
                </c:pt>
                <c:pt idx="52">
                  <c:v>3541.5849720140086</c:v>
                </c:pt>
                <c:pt idx="53">
                  <c:v>3567.1621039330398</c:v>
                </c:pt>
                <c:pt idx="54">
                  <c:v>3591.519792079725</c:v>
                </c:pt>
                <c:pt idx="55">
                  <c:v>3614.7136146522971</c:v>
                </c:pt>
                <c:pt idx="56">
                  <c:v>3636.8106280386442</c:v>
                </c:pt>
                <c:pt idx="57">
                  <c:v>3657.8721497869506</c:v>
                </c:pt>
                <c:pt idx="58">
                  <c:v>3677.9578607769135</c:v>
                </c:pt>
                <c:pt idx="59">
                  <c:v>3697.1053601361064</c:v>
                </c:pt>
                <c:pt idx="60">
                  <c:v>3715.36084060123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620.2449937271026</c:v>
                </c:pt>
                <c:pt idx="32">
                  <c:v>2684.9546598982097</c:v>
                </c:pt>
                <c:pt idx="33">
                  <c:v>2748.2237248216111</c:v>
                </c:pt>
                <c:pt idx="34">
                  <c:v>2810.6470524597689</c:v>
                </c:pt>
                <c:pt idx="35">
                  <c:v>2872.5547928930391</c:v>
                </c:pt>
                <c:pt idx="36">
                  <c:v>2933.7073527530874</c:v>
                </c:pt>
                <c:pt idx="37">
                  <c:v>2993.9470734727684</c:v>
                </c:pt>
                <c:pt idx="38">
                  <c:v>3053.168129167695</c:v>
                </c:pt>
                <c:pt idx="39">
                  <c:v>3111.1690034686326</c:v>
                </c:pt>
                <c:pt idx="40">
                  <c:v>3167.7870763654896</c:v>
                </c:pt>
                <c:pt idx="41">
                  <c:v>3223.0351878630004</c:v>
                </c:pt>
                <c:pt idx="42">
                  <c:v>3276.9209810393409</c:v>
                </c:pt>
                <c:pt idx="43">
                  <c:v>3329.4259180343411</c:v>
                </c:pt>
                <c:pt idx="44">
                  <c:v>3380.5657634950603</c:v>
                </c:pt>
                <c:pt idx="45">
                  <c:v>3430.3616763399659</c:v>
                </c:pt>
                <c:pt idx="46">
                  <c:v>3478.8154102953054</c:v>
                </c:pt>
                <c:pt idx="47">
                  <c:v>3525.947682235872</c:v>
                </c:pt>
                <c:pt idx="48">
                  <c:v>3571.8018665106911</c:v>
                </c:pt>
                <c:pt idx="49">
                  <c:v>3616.4095048628396</c:v>
                </c:pt>
                <c:pt idx="50">
                  <c:v>3659.8027621591737</c:v>
                </c:pt>
                <c:pt idx="51">
                  <c:v>3702.0235920149253</c:v>
                </c:pt>
                <c:pt idx="52">
                  <c:v>3743.1086942068659</c:v>
                </c:pt>
                <c:pt idx="53">
                  <c:v>3783.0822654991207</c:v>
                </c:pt>
                <c:pt idx="54">
                  <c:v>3821.9679849683234</c:v>
                </c:pt>
                <c:pt idx="55">
                  <c:v>3859.7964369818519</c:v>
                </c:pt>
                <c:pt idx="56">
                  <c:v>3896.600573403196</c:v>
                </c:pt>
                <c:pt idx="57">
                  <c:v>3932.4153209828842</c:v>
                </c:pt>
                <c:pt idx="58">
                  <c:v>3967.2764984546279</c:v>
                </c:pt>
                <c:pt idx="59">
                  <c:v>4001.1989368962641</c:v>
                </c:pt>
                <c:pt idx="60">
                  <c:v>4034.2115900698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621.7003683715043</c:v>
                </c:pt>
                <c:pt idx="32">
                  <c:v>2689.0386086766421</c:v>
                </c:pt>
                <c:pt idx="33">
                  <c:v>2755.742794962383</c:v>
                </c:pt>
                <c:pt idx="34">
                  <c:v>2822.17333254606</c:v>
                </c:pt>
                <c:pt idx="35">
                  <c:v>2888.8663776147696</c:v>
                </c:pt>
                <c:pt idx="36">
                  <c:v>2955.770897751102</c:v>
                </c:pt>
                <c:pt idx="37">
                  <c:v>3022.871655855854</c:v>
                </c:pt>
                <c:pt idx="38">
                  <c:v>3090.1553313162722</c:v>
                </c:pt>
                <c:pt idx="39">
                  <c:v>3157.205981879617</c:v>
                </c:pt>
                <c:pt idx="40">
                  <c:v>3223.7473198247631</c:v>
                </c:pt>
                <c:pt idx="41">
                  <c:v>3289.8076780475253</c:v>
                </c:pt>
                <c:pt idx="42">
                  <c:v>3355.4848648544867</c:v>
                </c:pt>
                <c:pt idx="43">
                  <c:v>3420.7748979378744</c:v>
                </c:pt>
                <c:pt idx="44">
                  <c:v>3485.6299228944931</c:v>
                </c:pt>
                <c:pt idx="45">
                  <c:v>3549.9986586221635</c:v>
                </c:pt>
                <c:pt idx="46">
                  <c:v>3613.8175549659336</c:v>
                </c:pt>
                <c:pt idx="47">
                  <c:v>3677.0921943627391</c:v>
                </c:pt>
                <c:pt idx="48">
                  <c:v>3739.8707822249116</c:v>
                </c:pt>
                <c:pt idx="49">
                  <c:v>3802.1754078780887</c:v>
                </c:pt>
                <c:pt idx="50">
                  <c:v>3863.9815902834189</c:v>
                </c:pt>
                <c:pt idx="51">
                  <c:v>3925.2842213643371</c:v>
                </c:pt>
                <c:pt idx="52">
                  <c:v>3986.0917901222419</c:v>
                </c:pt>
                <c:pt idx="53">
                  <c:v>4046.407635414078</c:v>
                </c:pt>
                <c:pt idx="54">
                  <c:v>4106.2371288164286</c:v>
                </c:pt>
                <c:pt idx="55">
                  <c:v>4165.5853869014154</c:v>
                </c:pt>
                <c:pt idx="56">
                  <c:v>4224.4580526061509</c:v>
                </c:pt>
                <c:pt idx="57">
                  <c:v>4282.8575745220032</c:v>
                </c:pt>
                <c:pt idx="58">
                  <c:v>4340.7961098655878</c:v>
                </c:pt>
                <c:pt idx="59">
                  <c:v>4398.2666575936782</c:v>
                </c:pt>
                <c:pt idx="60">
                  <c:v>4455.276983137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623.888006987931</c:v>
                </c:pt>
                <c:pt idx="32">
                  <c:v>2695.1678181754046</c:v>
                </c:pt>
                <c:pt idx="33">
                  <c:v>2767.0154436941561</c:v>
                </c:pt>
                <c:pt idx="34">
                  <c:v>2839.4481325314837</c:v>
                </c:pt>
                <c:pt idx="35">
                  <c:v>2913.4451750753465</c:v>
                </c:pt>
                <c:pt idx="36">
                  <c:v>2989.3590842862886</c:v>
                </c:pt>
                <c:pt idx="37">
                  <c:v>3067.454568873688</c:v>
                </c:pt>
                <c:pt idx="38">
                  <c:v>3147.9142724372687</c:v>
                </c:pt>
                <c:pt idx="39">
                  <c:v>3229.9547820639455</c:v>
                </c:pt>
                <c:pt idx="40">
                  <c:v>3313.2038915125668</c:v>
                </c:pt>
                <c:pt idx="41">
                  <c:v>3397.8259338855901</c:v>
                </c:pt>
                <c:pt idx="42">
                  <c:v>3484.2206993327272</c:v>
                </c:pt>
                <c:pt idx="43">
                  <c:v>3572.4601186741629</c:v>
                </c:pt>
                <c:pt idx="44">
                  <c:v>3662.450053159354</c:v>
                </c:pt>
                <c:pt idx="45">
                  <c:v>3754.0651524096947</c:v>
                </c:pt>
                <c:pt idx="46">
                  <c:v>3847.1990328753691</c:v>
                </c:pt>
                <c:pt idx="47">
                  <c:v>3941.9511268607739</c:v>
                </c:pt>
                <c:pt idx="48">
                  <c:v>4038.4914051435048</c:v>
                </c:pt>
                <c:pt idx="49">
                  <c:v>4136.8971343684061</c:v>
                </c:pt>
                <c:pt idx="50">
                  <c:v>4237.1101592826417</c:v>
                </c:pt>
                <c:pt idx="51">
                  <c:v>4339.1071178294742</c:v>
                </c:pt>
                <c:pt idx="52">
                  <c:v>4442.9098631710203</c:v>
                </c:pt>
                <c:pt idx="53">
                  <c:v>4548.585155010659</c:v>
                </c:pt>
                <c:pt idx="54">
                  <c:v>4656.2041367739093</c:v>
                </c:pt>
                <c:pt idx="55">
                  <c:v>4765.8086597033962</c:v>
                </c:pt>
                <c:pt idx="56">
                  <c:v>4877.4075040105781</c:v>
                </c:pt>
                <c:pt idx="57">
                  <c:v>4991.0080063970763</c:v>
                </c:pt>
                <c:pt idx="58">
                  <c:v>5106.6459501605113</c:v>
                </c:pt>
                <c:pt idx="59">
                  <c:v>5224.3776707099787</c:v>
                </c:pt>
                <c:pt idx="60">
                  <c:v>5344.2600777311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10</c:v>
                </c:pt>
                <c:pt idx="1">
                  <c:v>533</c:v>
                </c:pt>
                <c:pt idx="2">
                  <c:v>542</c:v>
                </c:pt>
                <c:pt idx="3">
                  <c:v>547</c:v>
                </c:pt>
                <c:pt idx="4">
                  <c:v>575</c:v>
                </c:pt>
                <c:pt idx="5">
                  <c:v>548</c:v>
                </c:pt>
                <c:pt idx="6">
                  <c:v>568</c:v>
                </c:pt>
                <c:pt idx="7">
                  <c:v>598</c:v>
                </c:pt>
                <c:pt idx="8">
                  <c:v>614</c:v>
                </c:pt>
                <c:pt idx="9">
                  <c:v>598</c:v>
                </c:pt>
                <c:pt idx="10">
                  <c:v>600</c:v>
                </c:pt>
                <c:pt idx="11">
                  <c:v>604</c:v>
                </c:pt>
                <c:pt idx="12">
                  <c:v>584</c:v>
                </c:pt>
                <c:pt idx="13">
                  <c:v>606</c:v>
                </c:pt>
                <c:pt idx="14">
                  <c:v>654</c:v>
                </c:pt>
                <c:pt idx="15">
                  <c:v>670</c:v>
                </c:pt>
                <c:pt idx="16">
                  <c:v>665</c:v>
                </c:pt>
                <c:pt idx="17">
                  <c:v>664</c:v>
                </c:pt>
                <c:pt idx="18">
                  <c:v>667</c:v>
                </c:pt>
                <c:pt idx="19">
                  <c:v>608</c:v>
                </c:pt>
                <c:pt idx="20">
                  <c:v>601</c:v>
                </c:pt>
                <c:pt idx="21">
                  <c:v>625</c:v>
                </c:pt>
                <c:pt idx="22">
                  <c:v>621</c:v>
                </c:pt>
                <c:pt idx="23">
                  <c:v>594</c:v>
                </c:pt>
                <c:pt idx="24">
                  <c:v>595</c:v>
                </c:pt>
                <c:pt idx="25">
                  <c:v>619</c:v>
                </c:pt>
                <c:pt idx="26">
                  <c:v>584</c:v>
                </c:pt>
                <c:pt idx="27">
                  <c:v>577</c:v>
                </c:pt>
                <c:pt idx="28">
                  <c:v>631</c:v>
                </c:pt>
                <c:pt idx="29">
                  <c:v>615</c:v>
                </c:pt>
                <c:pt idx="30">
                  <c:v>603</c:v>
                </c:pt>
                <c:pt idx="31">
                  <c:v>562</c:v>
                </c:pt>
                <c:pt idx="32">
                  <c:v>524</c:v>
                </c:pt>
                <c:pt idx="33">
                  <c:v>543</c:v>
                </c:pt>
                <c:pt idx="34">
                  <c:v>543</c:v>
                </c:pt>
                <c:pt idx="35">
                  <c:v>546</c:v>
                </c:pt>
                <c:pt idx="36">
                  <c:v>585</c:v>
                </c:pt>
                <c:pt idx="37">
                  <c:v>564</c:v>
                </c:pt>
                <c:pt idx="38">
                  <c:v>531</c:v>
                </c:pt>
                <c:pt idx="39">
                  <c:v>510</c:v>
                </c:pt>
                <c:pt idx="40">
                  <c:v>451</c:v>
                </c:pt>
                <c:pt idx="41">
                  <c:v>436</c:v>
                </c:pt>
                <c:pt idx="42">
                  <c:v>450</c:v>
                </c:pt>
                <c:pt idx="43">
                  <c:v>436</c:v>
                </c:pt>
                <c:pt idx="44">
                  <c:v>408</c:v>
                </c:pt>
                <c:pt idx="45">
                  <c:v>390</c:v>
                </c:pt>
                <c:pt idx="46">
                  <c:v>374</c:v>
                </c:pt>
                <c:pt idx="47">
                  <c:v>326</c:v>
                </c:pt>
                <c:pt idx="48">
                  <c:v>319</c:v>
                </c:pt>
                <c:pt idx="49">
                  <c:v>319</c:v>
                </c:pt>
                <c:pt idx="50">
                  <c:v>302</c:v>
                </c:pt>
                <c:pt idx="51">
                  <c:v>276</c:v>
                </c:pt>
                <c:pt idx="52">
                  <c:v>264</c:v>
                </c:pt>
                <c:pt idx="53">
                  <c:v>24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85.56336596601363</c:v>
                </c:pt>
                <c:pt idx="32">
                  <c:v>571.64233327998534</c:v>
                </c:pt>
                <c:pt idx="33">
                  <c:v>557.41113977703537</c:v>
                </c:pt>
                <c:pt idx="34">
                  <c:v>543.61385202742144</c:v>
                </c:pt>
                <c:pt idx="35">
                  <c:v>530.02381920737901</c:v>
                </c:pt>
                <c:pt idx="36">
                  <c:v>516.37498279475778</c:v>
                </c:pt>
                <c:pt idx="37">
                  <c:v>502.86857629732197</c:v>
                </c:pt>
                <c:pt idx="38">
                  <c:v>489.25029579856471</c:v>
                </c:pt>
                <c:pt idx="39">
                  <c:v>475.30385318383776</c:v>
                </c:pt>
                <c:pt idx="40">
                  <c:v>461.24885368250835</c:v>
                </c:pt>
                <c:pt idx="41">
                  <c:v>447.21339912534268</c:v>
                </c:pt>
                <c:pt idx="42">
                  <c:v>432.97810131376815</c:v>
                </c:pt>
                <c:pt idx="43">
                  <c:v>418.46564818431801</c:v>
                </c:pt>
                <c:pt idx="44">
                  <c:v>403.86718415593668</c:v>
                </c:pt>
                <c:pt idx="45">
                  <c:v>389.29000644664586</c:v>
                </c:pt>
                <c:pt idx="46">
                  <c:v>374.8628315106904</c:v>
                </c:pt>
                <c:pt idx="47">
                  <c:v>360.64399310867555</c:v>
                </c:pt>
                <c:pt idx="48">
                  <c:v>346.63079403131167</c:v>
                </c:pt>
                <c:pt idx="49">
                  <c:v>332.71732920775855</c:v>
                </c:pt>
                <c:pt idx="50">
                  <c:v>318.97826431793732</c:v>
                </c:pt>
                <c:pt idx="51">
                  <c:v>305.56025555276233</c:v>
                </c:pt>
                <c:pt idx="52">
                  <c:v>292.49759273917795</c:v>
                </c:pt>
                <c:pt idx="53">
                  <c:v>279.83671894029465</c:v>
                </c:pt>
                <c:pt idx="54">
                  <c:v>267.56386062923036</c:v>
                </c:pt>
                <c:pt idx="55">
                  <c:v>255.71615440253225</c:v>
                </c:pt>
                <c:pt idx="56">
                  <c:v>244.25401522778913</c:v>
                </c:pt>
                <c:pt idx="57">
                  <c:v>233.20508369351705</c:v>
                </c:pt>
                <c:pt idx="58">
                  <c:v>222.56818772976536</c:v>
                </c:pt>
                <c:pt idx="59">
                  <c:v>212.32765598117606</c:v>
                </c:pt>
                <c:pt idx="60">
                  <c:v>202.506391196118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586.57905034886812</c:v>
                </c:pt>
                <c:pt idx="32">
                  <c:v>574.45658364999031</c:v>
                </c:pt>
                <c:pt idx="33">
                  <c:v>562.5108932622536</c:v>
                </c:pt>
                <c:pt idx="34">
                  <c:v>551.29255032426886</c:v>
                </c:pt>
                <c:pt idx="35">
                  <c:v>540.63627201588156</c:v>
                </c:pt>
                <c:pt idx="36">
                  <c:v>530.3432726880153</c:v>
                </c:pt>
                <c:pt idx="37">
                  <c:v>520.65106822597522</c:v>
                </c:pt>
                <c:pt idx="38">
                  <c:v>511.31392960036032</c:v>
                </c:pt>
                <c:pt idx="39">
                  <c:v>501.93089838295896</c:v>
                </c:pt>
                <c:pt idx="40">
                  <c:v>492.61040261471146</c:v>
                </c:pt>
                <c:pt idx="41">
                  <c:v>483.4255478092237</c:v>
                </c:pt>
                <c:pt idx="42">
                  <c:v>474.13363800253603</c:v>
                </c:pt>
                <c:pt idx="43">
                  <c:v>464.60667278808307</c:v>
                </c:pt>
                <c:pt idx="44">
                  <c:v>454.98511351421109</c:v>
                </c:pt>
                <c:pt idx="45">
                  <c:v>445.31565286698225</c:v>
                </c:pt>
                <c:pt idx="46">
                  <c:v>435.65889946555251</c:v>
                </c:pt>
                <c:pt idx="47">
                  <c:v>426.04550899944172</c:v>
                </c:pt>
                <c:pt idx="48">
                  <c:v>416.45611738807236</c:v>
                </c:pt>
                <c:pt idx="49">
                  <c:v>406.77218633370819</c:v>
                </c:pt>
                <c:pt idx="50">
                  <c:v>397.05021240911537</c:v>
                </c:pt>
                <c:pt idx="51">
                  <c:v>387.41006393891746</c:v>
                </c:pt>
                <c:pt idx="52">
                  <c:v>377.8685944140766</c:v>
                </c:pt>
                <c:pt idx="53">
                  <c:v>368.4606743987257</c:v>
                </c:pt>
                <c:pt idx="54">
                  <c:v>359.17778785888197</c:v>
                </c:pt>
                <c:pt idx="55">
                  <c:v>350.0651961822204</c:v>
                </c:pt>
                <c:pt idx="56">
                  <c:v>341.08354710128833</c:v>
                </c:pt>
                <c:pt idx="57">
                  <c:v>332.26350223811204</c:v>
                </c:pt>
                <c:pt idx="58">
                  <c:v>323.60922422035929</c:v>
                </c:pt>
                <c:pt idx="59">
                  <c:v>315.11110568864217</c:v>
                </c:pt>
                <c:pt idx="60">
                  <c:v>306.80312118741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87.59473473172261</c:v>
                </c:pt>
                <c:pt idx="32">
                  <c:v>577.27402799604181</c:v>
                </c:pt>
                <c:pt idx="33">
                  <c:v>567.6208223927805</c:v>
                </c:pt>
                <c:pt idx="34">
                  <c:v>558.98592499842448</c:v>
                </c:pt>
                <c:pt idx="35">
                  <c:v>551.3186036808147</c:v>
                </c:pt>
                <c:pt idx="36">
                  <c:v>544.52280346836051</c:v>
                </c:pt>
                <c:pt idx="37">
                  <c:v>538.90136792374278</c:v>
                </c:pt>
                <c:pt idx="38">
                  <c:v>534.22981092139844</c:v>
                </c:pt>
                <c:pt idx="39">
                  <c:v>529.909889695571</c:v>
                </c:pt>
                <c:pt idx="40">
                  <c:v>525.93139438352557</c:v>
                </c:pt>
                <c:pt idx="41">
                  <c:v>522.33768581135337</c:v>
                </c:pt>
                <c:pt idx="42">
                  <c:v>518.89941316497493</c:v>
                </c:pt>
                <c:pt idx="43">
                  <c:v>515.46200607578862</c:v>
                </c:pt>
                <c:pt idx="44">
                  <c:v>512.09772574448471</c:v>
                </c:pt>
                <c:pt idx="45">
                  <c:v>508.78195416526154</c:v>
                </c:pt>
                <c:pt idx="46">
                  <c:v>505.50568482540302</c:v>
                </c:pt>
                <c:pt idx="47">
                  <c:v>502.27123825167013</c:v>
                </c:pt>
                <c:pt idx="48">
                  <c:v>499.05148633947908</c:v>
                </c:pt>
                <c:pt idx="49">
                  <c:v>495.71591235126118</c:v>
                </c:pt>
                <c:pt idx="50">
                  <c:v>492.27920127936619</c:v>
                </c:pt>
                <c:pt idx="51">
                  <c:v>488.82517919599775</c:v>
                </c:pt>
                <c:pt idx="52">
                  <c:v>485.34619281973016</c:v>
                </c:pt>
                <c:pt idx="53">
                  <c:v>481.86151779834699</c:v>
                </c:pt>
                <c:pt idx="54">
                  <c:v>478.35875100438801</c:v>
                </c:pt>
                <c:pt idx="55">
                  <c:v>474.87870980311351</c:v>
                </c:pt>
                <c:pt idx="56">
                  <c:v>471.37525809802571</c:v>
                </c:pt>
                <c:pt idx="57">
                  <c:v>467.86626373814227</c:v>
                </c:pt>
                <c:pt idx="58">
                  <c:v>464.35072365386702</c:v>
                </c:pt>
                <c:pt idx="59">
                  <c:v>460.81628633953471</c:v>
                </c:pt>
                <c:pt idx="60">
                  <c:v>457.2971529425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89.12145528205133</c:v>
                </c:pt>
                <c:pt idx="32">
                  <c:v>581.50238522031123</c:v>
                </c:pt>
                <c:pt idx="33">
                  <c:v>575.28134130470062</c:v>
                </c:pt>
                <c:pt idx="34">
                  <c:v>570.51564669250126</c:v>
                </c:pt>
                <c:pt idx="35">
                  <c:v>567.42007815582065</c:v>
                </c:pt>
                <c:pt idx="36">
                  <c:v>566.13393839739456</c:v>
                </c:pt>
                <c:pt idx="37">
                  <c:v>567.09740067757036</c:v>
                </c:pt>
                <c:pt idx="38">
                  <c:v>570.14753795121044</c:v>
                </c:pt>
                <c:pt idx="39">
                  <c:v>574.34521149393379</c:v>
                </c:pt>
                <c:pt idx="40">
                  <c:v>579.54129072095077</c:v>
                </c:pt>
                <c:pt idx="41">
                  <c:v>585.79837564220065</c:v>
                </c:pt>
                <c:pt idx="42">
                  <c:v>593.00513379788788</c:v>
                </c:pt>
                <c:pt idx="43">
                  <c:v>600.98121581875967</c:v>
                </c:pt>
                <c:pt idx="44">
                  <c:v>609.70381365007313</c:v>
                </c:pt>
                <c:pt idx="45">
                  <c:v>619.03536465613729</c:v>
                </c:pt>
                <c:pt idx="46">
                  <c:v>628.86791022237128</c:v>
                </c:pt>
                <c:pt idx="47">
                  <c:v>639.20779337576528</c:v>
                </c:pt>
                <c:pt idx="48">
                  <c:v>650.05895654283995</c:v>
                </c:pt>
                <c:pt idx="49">
                  <c:v>661.281805117148</c:v>
                </c:pt>
                <c:pt idx="50">
                  <c:v>672.82327020333616</c:v>
                </c:pt>
                <c:pt idx="51">
                  <c:v>684.70694405835491</c:v>
                </c:pt>
                <c:pt idx="52">
                  <c:v>696.88291128876836</c:v>
                </c:pt>
                <c:pt idx="53">
                  <c:v>709.36820543662998</c:v>
                </c:pt>
                <c:pt idx="54">
                  <c:v>722.16475678804295</c:v>
                </c:pt>
                <c:pt idx="55">
                  <c:v>735.31287711886046</c:v>
                </c:pt>
                <c:pt idx="56">
                  <c:v>748.73938357784527</c:v>
                </c:pt>
                <c:pt idx="57">
                  <c:v>762.43176398303649</c:v>
                </c:pt>
                <c:pt idx="58">
                  <c:v>776.37389204466433</c:v>
                </c:pt>
                <c:pt idx="59">
                  <c:v>790.56866432590516</c:v>
                </c:pt>
                <c:pt idx="60">
                  <c:v>805.05989474435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8</c:v>
                </c:pt>
                <c:pt idx="1">
                  <c:v>648</c:v>
                </c:pt>
                <c:pt idx="2">
                  <c:v>648</c:v>
                </c:pt>
                <c:pt idx="3">
                  <c:v>648</c:v>
                </c:pt>
                <c:pt idx="4">
                  <c:v>648</c:v>
                </c:pt>
                <c:pt idx="5">
                  <c:v>648</c:v>
                </c:pt>
                <c:pt idx="6">
                  <c:v>648</c:v>
                </c:pt>
                <c:pt idx="7">
                  <c:v>648</c:v>
                </c:pt>
                <c:pt idx="8">
                  <c:v>648</c:v>
                </c:pt>
                <c:pt idx="9">
                  <c:v>648</c:v>
                </c:pt>
                <c:pt idx="10">
                  <c:v>648</c:v>
                </c:pt>
                <c:pt idx="11">
                  <c:v>648</c:v>
                </c:pt>
                <c:pt idx="12">
                  <c:v>648</c:v>
                </c:pt>
                <c:pt idx="13">
                  <c:v>648</c:v>
                </c:pt>
                <c:pt idx="14">
                  <c:v>648</c:v>
                </c:pt>
                <c:pt idx="15">
                  <c:v>648</c:v>
                </c:pt>
                <c:pt idx="16">
                  <c:v>648</c:v>
                </c:pt>
                <c:pt idx="17">
                  <c:v>648</c:v>
                </c:pt>
                <c:pt idx="18">
                  <c:v>648</c:v>
                </c:pt>
                <c:pt idx="19">
                  <c:v>648</c:v>
                </c:pt>
                <c:pt idx="20">
                  <c:v>648</c:v>
                </c:pt>
                <c:pt idx="21">
                  <c:v>648</c:v>
                </c:pt>
                <c:pt idx="22">
                  <c:v>648</c:v>
                </c:pt>
                <c:pt idx="23">
                  <c:v>648</c:v>
                </c:pt>
                <c:pt idx="24">
                  <c:v>648</c:v>
                </c:pt>
                <c:pt idx="25">
                  <c:v>648</c:v>
                </c:pt>
                <c:pt idx="26">
                  <c:v>648</c:v>
                </c:pt>
                <c:pt idx="27">
                  <c:v>648</c:v>
                </c:pt>
                <c:pt idx="28">
                  <c:v>648</c:v>
                </c:pt>
                <c:pt idx="29">
                  <c:v>648</c:v>
                </c:pt>
                <c:pt idx="30">
                  <c:v>648</c:v>
                </c:pt>
                <c:pt idx="31">
                  <c:v>648</c:v>
                </c:pt>
                <c:pt idx="32">
                  <c:v>648</c:v>
                </c:pt>
                <c:pt idx="33">
                  <c:v>648</c:v>
                </c:pt>
                <c:pt idx="34">
                  <c:v>648</c:v>
                </c:pt>
                <c:pt idx="35">
                  <c:v>648</c:v>
                </c:pt>
                <c:pt idx="36">
                  <c:v>648</c:v>
                </c:pt>
                <c:pt idx="37">
                  <c:v>648</c:v>
                </c:pt>
                <c:pt idx="38">
                  <c:v>648</c:v>
                </c:pt>
                <c:pt idx="39">
                  <c:v>648</c:v>
                </c:pt>
                <c:pt idx="40">
                  <c:v>648</c:v>
                </c:pt>
                <c:pt idx="41">
                  <c:v>648</c:v>
                </c:pt>
                <c:pt idx="42">
                  <c:v>648</c:v>
                </c:pt>
                <c:pt idx="43">
                  <c:v>648</c:v>
                </c:pt>
                <c:pt idx="44">
                  <c:v>648</c:v>
                </c:pt>
                <c:pt idx="45">
                  <c:v>648</c:v>
                </c:pt>
                <c:pt idx="46">
                  <c:v>648</c:v>
                </c:pt>
                <c:pt idx="47">
                  <c:v>648</c:v>
                </c:pt>
                <c:pt idx="48">
                  <c:v>648</c:v>
                </c:pt>
                <c:pt idx="49">
                  <c:v>648</c:v>
                </c:pt>
                <c:pt idx="50">
                  <c:v>648</c:v>
                </c:pt>
                <c:pt idx="51">
                  <c:v>648</c:v>
                </c:pt>
                <c:pt idx="52">
                  <c:v>648</c:v>
                </c:pt>
                <c:pt idx="53">
                  <c:v>648</c:v>
                </c:pt>
                <c:pt idx="54">
                  <c:v>648</c:v>
                </c:pt>
                <c:pt idx="55">
                  <c:v>648</c:v>
                </c:pt>
                <c:pt idx="56">
                  <c:v>648</c:v>
                </c:pt>
                <c:pt idx="57">
                  <c:v>648</c:v>
                </c:pt>
                <c:pt idx="58">
                  <c:v>648</c:v>
                </c:pt>
                <c:pt idx="59">
                  <c:v>648</c:v>
                </c:pt>
                <c:pt idx="60">
                  <c:v>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0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73</c:v>
                </c:pt>
                <c:pt idx="1">
                  <c:v>705</c:v>
                </c:pt>
                <c:pt idx="2">
                  <c:v>677</c:v>
                </c:pt>
                <c:pt idx="3">
                  <c:v>673</c:v>
                </c:pt>
                <c:pt idx="4">
                  <c:v>656</c:v>
                </c:pt>
                <c:pt idx="5">
                  <c:v>637</c:v>
                </c:pt>
                <c:pt idx="6">
                  <c:v>643</c:v>
                </c:pt>
                <c:pt idx="7">
                  <c:v>658</c:v>
                </c:pt>
                <c:pt idx="8">
                  <c:v>669</c:v>
                </c:pt>
                <c:pt idx="9">
                  <c:v>679</c:v>
                </c:pt>
                <c:pt idx="10">
                  <c:v>656</c:v>
                </c:pt>
                <c:pt idx="11">
                  <c:v>647</c:v>
                </c:pt>
                <c:pt idx="12">
                  <c:v>631</c:v>
                </c:pt>
                <c:pt idx="13">
                  <c:v>640</c:v>
                </c:pt>
                <c:pt idx="14">
                  <c:v>662</c:v>
                </c:pt>
                <c:pt idx="15">
                  <c:v>665</c:v>
                </c:pt>
                <c:pt idx="16">
                  <c:v>637</c:v>
                </c:pt>
                <c:pt idx="17">
                  <c:v>608</c:v>
                </c:pt>
                <c:pt idx="18">
                  <c:v>597</c:v>
                </c:pt>
                <c:pt idx="19">
                  <c:v>581</c:v>
                </c:pt>
                <c:pt idx="20">
                  <c:v>551</c:v>
                </c:pt>
                <c:pt idx="21">
                  <c:v>578</c:v>
                </c:pt>
                <c:pt idx="22">
                  <c:v>562</c:v>
                </c:pt>
                <c:pt idx="23">
                  <c:v>527</c:v>
                </c:pt>
                <c:pt idx="24">
                  <c:v>512</c:v>
                </c:pt>
                <c:pt idx="25">
                  <c:v>483</c:v>
                </c:pt>
                <c:pt idx="26">
                  <c:v>438</c:v>
                </c:pt>
                <c:pt idx="27">
                  <c:v>437</c:v>
                </c:pt>
                <c:pt idx="28">
                  <c:v>458</c:v>
                </c:pt>
                <c:pt idx="29">
                  <c:v>436</c:v>
                </c:pt>
                <c:pt idx="30">
                  <c:v>433</c:v>
                </c:pt>
                <c:pt idx="31">
                  <c:v>411</c:v>
                </c:pt>
                <c:pt idx="32">
                  <c:v>387</c:v>
                </c:pt>
                <c:pt idx="33">
                  <c:v>389</c:v>
                </c:pt>
                <c:pt idx="34">
                  <c:v>384</c:v>
                </c:pt>
                <c:pt idx="35">
                  <c:v>368</c:v>
                </c:pt>
                <c:pt idx="36">
                  <c:v>390</c:v>
                </c:pt>
                <c:pt idx="37">
                  <c:v>370</c:v>
                </c:pt>
                <c:pt idx="38">
                  <c:v>321</c:v>
                </c:pt>
                <c:pt idx="39">
                  <c:v>308</c:v>
                </c:pt>
                <c:pt idx="40">
                  <c:v>261</c:v>
                </c:pt>
                <c:pt idx="41">
                  <c:v>261</c:v>
                </c:pt>
                <c:pt idx="42">
                  <c:v>261</c:v>
                </c:pt>
                <c:pt idx="43">
                  <c:v>246</c:v>
                </c:pt>
                <c:pt idx="44">
                  <c:v>225</c:v>
                </c:pt>
                <c:pt idx="45">
                  <c:v>208</c:v>
                </c:pt>
                <c:pt idx="46">
                  <c:v>206</c:v>
                </c:pt>
                <c:pt idx="47">
                  <c:v>189</c:v>
                </c:pt>
                <c:pt idx="48">
                  <c:v>192</c:v>
                </c:pt>
                <c:pt idx="49">
                  <c:v>189</c:v>
                </c:pt>
                <c:pt idx="50">
                  <c:v>192</c:v>
                </c:pt>
                <c:pt idx="51">
                  <c:v>173</c:v>
                </c:pt>
                <c:pt idx="52">
                  <c:v>162</c:v>
                </c:pt>
                <c:pt idx="53">
                  <c:v>14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45.04591808198961</c:v>
                </c:pt>
                <c:pt idx="32">
                  <c:v>434.26112593002983</c:v>
                </c:pt>
                <c:pt idx="33">
                  <c:v>423.25783787355459</c:v>
                </c:pt>
                <c:pt idx="34">
                  <c:v>412.61637902900748</c:v>
                </c:pt>
                <c:pt idx="35">
                  <c:v>402.16912715746105</c:v>
                </c:pt>
                <c:pt idx="36">
                  <c:v>391.72380568641216</c:v>
                </c:pt>
                <c:pt idx="37">
                  <c:v>381.40913660059311</c:v>
                </c:pt>
                <c:pt idx="38">
                  <c:v>371.02371548662791</c:v>
                </c:pt>
                <c:pt idx="39">
                  <c:v>360.40274943941108</c:v>
                </c:pt>
                <c:pt idx="40">
                  <c:v>349.70725646367737</c:v>
                </c:pt>
                <c:pt idx="41">
                  <c:v>339.03480188890978</c:v>
                </c:pt>
                <c:pt idx="42">
                  <c:v>328.22081935572368</c:v>
                </c:pt>
                <c:pt idx="43">
                  <c:v>317.21234761760695</c:v>
                </c:pt>
                <c:pt idx="44">
                  <c:v>306.14103098172239</c:v>
                </c:pt>
                <c:pt idx="45">
                  <c:v>295.08400852453735</c:v>
                </c:pt>
                <c:pt idx="46">
                  <c:v>284.14465887135287</c:v>
                </c:pt>
                <c:pt idx="47">
                  <c:v>273.36691015053157</c:v>
                </c:pt>
                <c:pt idx="48">
                  <c:v>262.74581292245762</c:v>
                </c:pt>
                <c:pt idx="49">
                  <c:v>252.19914142687315</c:v>
                </c:pt>
                <c:pt idx="50">
                  <c:v>241.78571871627378</c:v>
                </c:pt>
                <c:pt idx="51">
                  <c:v>231.61691401208722</c:v>
                </c:pt>
                <c:pt idx="52">
                  <c:v>221.71747154648355</c:v>
                </c:pt>
                <c:pt idx="53">
                  <c:v>212.12584760054679</c:v>
                </c:pt>
                <c:pt idx="54">
                  <c:v>202.83115926650163</c:v>
                </c:pt>
                <c:pt idx="55">
                  <c:v>193.85971942540411</c:v>
                </c:pt>
                <c:pt idx="56">
                  <c:v>185.18052783074538</c:v>
                </c:pt>
                <c:pt idx="57">
                  <c:v>176.81462371112318</c:v>
                </c:pt>
                <c:pt idx="58">
                  <c:v>168.76079666281095</c:v>
                </c:pt>
                <c:pt idx="59">
                  <c:v>161.00738550154915</c:v>
                </c:pt>
                <c:pt idx="60">
                  <c:v>153.57163628615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445.80869958015307</c:v>
                </c:pt>
                <c:pt idx="32">
                  <c:v>436.37482447824107</c:v>
                </c:pt>
                <c:pt idx="33">
                  <c:v>427.08909150217085</c:v>
                </c:pt>
                <c:pt idx="34">
                  <c:v>418.38718184781771</c:v>
                </c:pt>
                <c:pt idx="35">
                  <c:v>410.14831148651194</c:v>
                </c:pt>
                <c:pt idx="36">
                  <c:v>402.23159632074896</c:v>
                </c:pt>
                <c:pt idx="37">
                  <c:v>394.79355035983724</c:v>
                </c:pt>
                <c:pt idx="38">
                  <c:v>387.63969813598533</c:v>
                </c:pt>
                <c:pt idx="39">
                  <c:v>380.46624313006186</c:v>
                </c:pt>
                <c:pt idx="40">
                  <c:v>373.34994889414662</c:v>
                </c:pt>
                <c:pt idx="41">
                  <c:v>366.34616409774156</c:v>
                </c:pt>
                <c:pt idx="42">
                  <c:v>359.27232034524468</c:v>
                </c:pt>
                <c:pt idx="43">
                  <c:v>352.03688335057075</c:v>
                </c:pt>
                <c:pt idx="44">
                  <c:v>344.73299889532535</c:v>
                </c:pt>
                <c:pt idx="45">
                  <c:v>337.39169218705365</c:v>
                </c:pt>
                <c:pt idx="46">
                  <c:v>330.06476348198316</c:v>
                </c:pt>
                <c:pt idx="47">
                  <c:v>322.77488309529343</c:v>
                </c:pt>
                <c:pt idx="48">
                  <c:v>315.50408318134885</c:v>
                </c:pt>
                <c:pt idx="49">
                  <c:v>308.16048868953351</c:v>
                </c:pt>
                <c:pt idx="50">
                  <c:v>300.78911309835166</c:v>
                </c:pt>
                <c:pt idx="51">
                  <c:v>293.48117802355074</c:v>
                </c:pt>
                <c:pt idx="52">
                  <c:v>286.24824614627994</c:v>
                </c:pt>
                <c:pt idx="53">
                  <c:v>279.12011511576583</c:v>
                </c:pt>
                <c:pt idx="54">
                  <c:v>272.08985088517051</c:v>
                </c:pt>
                <c:pt idx="55">
                  <c:v>265.18979016990858</c:v>
                </c:pt>
                <c:pt idx="56">
                  <c:v>258.38918403775415</c:v>
                </c:pt>
                <c:pt idx="57">
                  <c:v>251.71139928708723</c:v>
                </c:pt>
                <c:pt idx="58">
                  <c:v>245.15928281807754</c:v>
                </c:pt>
                <c:pt idx="59">
                  <c:v>238.72575062478745</c:v>
                </c:pt>
                <c:pt idx="60">
                  <c:v>232.43642752719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46.57148107831659</c:v>
                </c:pt>
                <c:pt idx="32">
                  <c:v>438.49092171040877</c:v>
                </c:pt>
                <c:pt idx="33">
                  <c:v>430.92798766170057</c:v>
                </c:pt>
                <c:pt idx="34">
                  <c:v>424.16901107992794</c:v>
                </c:pt>
                <c:pt idx="35">
                  <c:v>418.17998863647392</c:v>
                </c:pt>
                <c:pt idx="36">
                  <c:v>412.89806698480299</c:v>
                </c:pt>
                <c:pt idx="37">
                  <c:v>408.5294138066605</c:v>
                </c:pt>
                <c:pt idx="38">
                  <c:v>404.89607498494416</c:v>
                </c:pt>
                <c:pt idx="39">
                  <c:v>401.54589413274022</c:v>
                </c:pt>
                <c:pt idx="40">
                  <c:v>398.4659295191816</c:v>
                </c:pt>
                <c:pt idx="41">
                  <c:v>395.68842989589461</c:v>
                </c:pt>
                <c:pt idx="42">
                  <c:v>393.04051338693262</c:v>
                </c:pt>
                <c:pt idx="43">
                  <c:v>390.41032386190324</c:v>
                </c:pt>
                <c:pt idx="44">
                  <c:v>387.83944908168667</c:v>
                </c:pt>
                <c:pt idx="45">
                  <c:v>385.30480762741308</c:v>
                </c:pt>
                <c:pt idx="46">
                  <c:v>382.80550545513614</c:v>
                </c:pt>
                <c:pt idx="47">
                  <c:v>380.34246928345169</c:v>
                </c:pt>
                <c:pt idx="48">
                  <c:v>377.8914178231546</c:v>
                </c:pt>
                <c:pt idx="49">
                  <c:v>375.35131877368394</c:v>
                </c:pt>
                <c:pt idx="50">
                  <c:v>372.73560387960697</c:v>
                </c:pt>
                <c:pt idx="51">
                  <c:v>370.10833949309057</c:v>
                </c:pt>
                <c:pt idx="52">
                  <c:v>367.46251338693384</c:v>
                </c:pt>
                <c:pt idx="53">
                  <c:v>364.81617629148116</c:v>
                </c:pt>
                <c:pt idx="54">
                  <c:v>362.15941143902717</c:v>
                </c:pt>
                <c:pt idx="55">
                  <c:v>359.52107841779303</c:v>
                </c:pt>
                <c:pt idx="56">
                  <c:v>356.86535000973015</c:v>
                </c:pt>
                <c:pt idx="57">
                  <c:v>354.20597700840545</c:v>
                </c:pt>
                <c:pt idx="58">
                  <c:v>351.5419177853845</c:v>
                </c:pt>
                <c:pt idx="59">
                  <c:v>348.86398462372136</c:v>
                </c:pt>
                <c:pt idx="60">
                  <c:v>346.19797859929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47.71805200951843</c:v>
                </c:pt>
                <c:pt idx="32">
                  <c:v>441.66671337968251</c:v>
                </c:pt>
                <c:pt idx="33">
                  <c:v>436.68304935492449</c:v>
                </c:pt>
                <c:pt idx="34">
                  <c:v>432.83399309845151</c:v>
                </c:pt>
                <c:pt idx="35">
                  <c:v>430.28606571425087</c:v>
                </c:pt>
                <c:pt idx="36">
                  <c:v>429.15450476443357</c:v>
                </c:pt>
                <c:pt idx="37">
                  <c:v>429.74958739608383</c:v>
                </c:pt>
                <c:pt idx="38">
                  <c:v>431.94059743711966</c:v>
                </c:pt>
                <c:pt idx="39">
                  <c:v>435.01928853986198</c:v>
                </c:pt>
                <c:pt idx="40">
                  <c:v>438.86777174395547</c:v>
                </c:pt>
                <c:pt idx="41">
                  <c:v>443.5319062110367</c:v>
                </c:pt>
                <c:pt idx="42">
                  <c:v>448.92728006075492</c:v>
                </c:pt>
                <c:pt idx="43">
                  <c:v>454.92243444238295</c:v>
                </c:pt>
                <c:pt idx="44">
                  <c:v>461.48728791715479</c:v>
                </c:pt>
                <c:pt idx="45">
                  <c:v>468.51327800271235</c:v>
                </c:pt>
                <c:pt idx="46">
                  <c:v>475.9247123521252</c:v>
                </c:pt>
                <c:pt idx="47">
                  <c:v>483.72499408303793</c:v>
                </c:pt>
                <c:pt idx="48">
                  <c:v>491.91260042116232</c:v>
                </c:pt>
                <c:pt idx="49">
                  <c:v>500.37958234640774</c:v>
                </c:pt>
                <c:pt idx="50">
                  <c:v>509.08828193935716</c:v>
                </c:pt>
                <c:pt idx="51">
                  <c:v>518.05742507198852</c:v>
                </c:pt>
                <c:pt idx="52">
                  <c:v>527.24799697036144</c:v>
                </c:pt>
                <c:pt idx="53">
                  <c:v>536.67633192646656</c:v>
                </c:pt>
                <c:pt idx="54">
                  <c:v>546.34319536440694</c:v>
                </c:pt>
                <c:pt idx="55">
                  <c:v>556.27688532390448</c:v>
                </c:pt>
                <c:pt idx="56">
                  <c:v>566.4212957836088</c:v>
                </c:pt>
                <c:pt idx="57">
                  <c:v>576.76733584636315</c:v>
                </c:pt>
                <c:pt idx="58">
                  <c:v>587.30257334249313</c:v>
                </c:pt>
                <c:pt idx="59">
                  <c:v>598.02917622227699</c:v>
                </c:pt>
                <c:pt idx="60">
                  <c:v>608.980169467982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64</c:v>
                </c:pt>
                <c:pt idx="1">
                  <c:v>464</c:v>
                </c:pt>
                <c:pt idx="2">
                  <c:v>464</c:v>
                </c:pt>
                <c:pt idx="3">
                  <c:v>464</c:v>
                </c:pt>
                <c:pt idx="4">
                  <c:v>464</c:v>
                </c:pt>
                <c:pt idx="5">
                  <c:v>464</c:v>
                </c:pt>
                <c:pt idx="6">
                  <c:v>464</c:v>
                </c:pt>
                <c:pt idx="7">
                  <c:v>464</c:v>
                </c:pt>
                <c:pt idx="8">
                  <c:v>464</c:v>
                </c:pt>
                <c:pt idx="9">
                  <c:v>464</c:v>
                </c:pt>
                <c:pt idx="10">
                  <c:v>464</c:v>
                </c:pt>
                <c:pt idx="11">
                  <c:v>464</c:v>
                </c:pt>
                <c:pt idx="12">
                  <c:v>464</c:v>
                </c:pt>
                <c:pt idx="13">
                  <c:v>464</c:v>
                </c:pt>
                <c:pt idx="14">
                  <c:v>464</c:v>
                </c:pt>
                <c:pt idx="15">
                  <c:v>464</c:v>
                </c:pt>
                <c:pt idx="16">
                  <c:v>464</c:v>
                </c:pt>
                <c:pt idx="17">
                  <c:v>464</c:v>
                </c:pt>
                <c:pt idx="18">
                  <c:v>464</c:v>
                </c:pt>
                <c:pt idx="19">
                  <c:v>464</c:v>
                </c:pt>
                <c:pt idx="20">
                  <c:v>464</c:v>
                </c:pt>
                <c:pt idx="21">
                  <c:v>464</c:v>
                </c:pt>
                <c:pt idx="22">
                  <c:v>464</c:v>
                </c:pt>
                <c:pt idx="23">
                  <c:v>464</c:v>
                </c:pt>
                <c:pt idx="24">
                  <c:v>464</c:v>
                </c:pt>
                <c:pt idx="25">
                  <c:v>464</c:v>
                </c:pt>
                <c:pt idx="26">
                  <c:v>464</c:v>
                </c:pt>
                <c:pt idx="27">
                  <c:v>464</c:v>
                </c:pt>
                <c:pt idx="28">
                  <c:v>464</c:v>
                </c:pt>
                <c:pt idx="29">
                  <c:v>464</c:v>
                </c:pt>
                <c:pt idx="30">
                  <c:v>464</c:v>
                </c:pt>
                <c:pt idx="31">
                  <c:v>464</c:v>
                </c:pt>
                <c:pt idx="32">
                  <c:v>464</c:v>
                </c:pt>
                <c:pt idx="33">
                  <c:v>464</c:v>
                </c:pt>
                <c:pt idx="34">
                  <c:v>464</c:v>
                </c:pt>
                <c:pt idx="35">
                  <c:v>464</c:v>
                </c:pt>
                <c:pt idx="36">
                  <c:v>464</c:v>
                </c:pt>
                <c:pt idx="37">
                  <c:v>464</c:v>
                </c:pt>
                <c:pt idx="38">
                  <c:v>464</c:v>
                </c:pt>
                <c:pt idx="39">
                  <c:v>464</c:v>
                </c:pt>
                <c:pt idx="40">
                  <c:v>464</c:v>
                </c:pt>
                <c:pt idx="41">
                  <c:v>464</c:v>
                </c:pt>
                <c:pt idx="42">
                  <c:v>464</c:v>
                </c:pt>
                <c:pt idx="43">
                  <c:v>464</c:v>
                </c:pt>
                <c:pt idx="44">
                  <c:v>464</c:v>
                </c:pt>
                <c:pt idx="45">
                  <c:v>464</c:v>
                </c:pt>
                <c:pt idx="46">
                  <c:v>464</c:v>
                </c:pt>
                <c:pt idx="47">
                  <c:v>464</c:v>
                </c:pt>
                <c:pt idx="48">
                  <c:v>464</c:v>
                </c:pt>
                <c:pt idx="49">
                  <c:v>464</c:v>
                </c:pt>
                <c:pt idx="50">
                  <c:v>464</c:v>
                </c:pt>
                <c:pt idx="51">
                  <c:v>464</c:v>
                </c:pt>
                <c:pt idx="52">
                  <c:v>464</c:v>
                </c:pt>
                <c:pt idx="53">
                  <c:v>464</c:v>
                </c:pt>
                <c:pt idx="54">
                  <c:v>464</c:v>
                </c:pt>
                <c:pt idx="55">
                  <c:v>464</c:v>
                </c:pt>
                <c:pt idx="56">
                  <c:v>464</c:v>
                </c:pt>
                <c:pt idx="57">
                  <c:v>464</c:v>
                </c:pt>
                <c:pt idx="58">
                  <c:v>464</c:v>
                </c:pt>
                <c:pt idx="59">
                  <c:v>464</c:v>
                </c:pt>
                <c:pt idx="60">
                  <c:v>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0</c:v>
                </c:pt>
                <c:pt idx="1">
                  <c:v>398</c:v>
                </c:pt>
                <c:pt idx="2">
                  <c:v>356</c:v>
                </c:pt>
                <c:pt idx="3">
                  <c:v>324</c:v>
                </c:pt>
                <c:pt idx="4">
                  <c:v>336</c:v>
                </c:pt>
                <c:pt idx="5">
                  <c:v>325</c:v>
                </c:pt>
                <c:pt idx="6">
                  <c:v>326</c:v>
                </c:pt>
                <c:pt idx="7">
                  <c:v>326</c:v>
                </c:pt>
                <c:pt idx="8">
                  <c:v>298</c:v>
                </c:pt>
                <c:pt idx="9">
                  <c:v>290</c:v>
                </c:pt>
                <c:pt idx="10">
                  <c:v>300</c:v>
                </c:pt>
                <c:pt idx="11">
                  <c:v>286</c:v>
                </c:pt>
                <c:pt idx="12">
                  <c:v>260</c:v>
                </c:pt>
                <c:pt idx="13">
                  <c:v>250</c:v>
                </c:pt>
                <c:pt idx="14">
                  <c:v>249</c:v>
                </c:pt>
                <c:pt idx="15">
                  <c:v>233</c:v>
                </c:pt>
                <c:pt idx="16">
                  <c:v>242</c:v>
                </c:pt>
                <c:pt idx="17">
                  <c:v>221</c:v>
                </c:pt>
                <c:pt idx="18">
                  <c:v>223</c:v>
                </c:pt>
                <c:pt idx="19">
                  <c:v>206</c:v>
                </c:pt>
                <c:pt idx="20">
                  <c:v>207</c:v>
                </c:pt>
                <c:pt idx="21">
                  <c:v>220</c:v>
                </c:pt>
                <c:pt idx="22">
                  <c:v>199</c:v>
                </c:pt>
                <c:pt idx="23">
                  <c:v>178</c:v>
                </c:pt>
                <c:pt idx="24">
                  <c:v>163</c:v>
                </c:pt>
                <c:pt idx="25">
                  <c:v>156</c:v>
                </c:pt>
                <c:pt idx="26">
                  <c:v>146</c:v>
                </c:pt>
                <c:pt idx="27">
                  <c:v>145</c:v>
                </c:pt>
                <c:pt idx="28">
                  <c:v>149</c:v>
                </c:pt>
                <c:pt idx="29">
                  <c:v>141</c:v>
                </c:pt>
                <c:pt idx="30">
                  <c:v>129</c:v>
                </c:pt>
                <c:pt idx="31">
                  <c:v>124</c:v>
                </c:pt>
                <c:pt idx="32">
                  <c:v>117</c:v>
                </c:pt>
                <c:pt idx="33">
                  <c:v>113</c:v>
                </c:pt>
                <c:pt idx="34">
                  <c:v>110</c:v>
                </c:pt>
                <c:pt idx="35">
                  <c:v>110</c:v>
                </c:pt>
                <c:pt idx="36">
                  <c:v>119</c:v>
                </c:pt>
                <c:pt idx="37">
                  <c:v>105</c:v>
                </c:pt>
                <c:pt idx="38">
                  <c:v>100</c:v>
                </c:pt>
                <c:pt idx="39">
                  <c:v>99</c:v>
                </c:pt>
                <c:pt idx="40">
                  <c:v>81</c:v>
                </c:pt>
                <c:pt idx="41">
                  <c:v>77</c:v>
                </c:pt>
                <c:pt idx="42">
                  <c:v>84</c:v>
                </c:pt>
                <c:pt idx="43">
                  <c:v>64</c:v>
                </c:pt>
                <c:pt idx="44">
                  <c:v>54</c:v>
                </c:pt>
                <c:pt idx="45">
                  <c:v>47</c:v>
                </c:pt>
                <c:pt idx="46">
                  <c:v>47</c:v>
                </c:pt>
                <c:pt idx="47">
                  <c:v>43</c:v>
                </c:pt>
                <c:pt idx="48">
                  <c:v>42</c:v>
                </c:pt>
                <c:pt idx="49">
                  <c:v>42</c:v>
                </c:pt>
                <c:pt idx="50">
                  <c:v>42</c:v>
                </c:pt>
                <c:pt idx="51">
                  <c:v>43</c:v>
                </c:pt>
                <c:pt idx="52">
                  <c:v>39</c:v>
                </c:pt>
                <c:pt idx="53">
                  <c:v>29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32.40488361731974</c:v>
                </c:pt>
                <c:pt idx="32">
                  <c:v>129.27855556954245</c:v>
                </c:pt>
                <c:pt idx="33">
                  <c:v>126.08028807427007</c:v>
                </c:pt>
                <c:pt idx="34">
                  <c:v>122.97677286457801</c:v>
                </c:pt>
                <c:pt idx="35">
                  <c:v>119.91627423599815</c:v>
                </c:pt>
                <c:pt idx="36">
                  <c:v>116.83759039074988</c:v>
                </c:pt>
                <c:pt idx="37">
                  <c:v>113.78876316488561</c:v>
                </c:pt>
                <c:pt idx="38">
                  <c:v>110.71314258456974</c:v>
                </c:pt>
                <c:pt idx="39">
                  <c:v>107.56186529748979</c:v>
                </c:pt>
                <c:pt idx="40">
                  <c:v>104.3852048980827</c:v>
                </c:pt>
                <c:pt idx="41">
                  <c:v>101.21210578390347</c:v>
                </c:pt>
                <c:pt idx="42">
                  <c:v>97.992732806951196</c:v>
                </c:pt>
                <c:pt idx="43">
                  <c:v>94.708996521625181</c:v>
                </c:pt>
                <c:pt idx="44">
                  <c:v>91.405546976561993</c:v>
                </c:pt>
                <c:pt idx="45">
                  <c:v>88.107108156790758</c:v>
                </c:pt>
                <c:pt idx="46">
                  <c:v>84.842202843752304</c:v>
                </c:pt>
                <c:pt idx="47">
                  <c:v>81.624063906806001</c:v>
                </c:pt>
                <c:pt idx="48">
                  <c:v>78.45238550112596</c:v>
                </c:pt>
                <c:pt idx="49">
                  <c:v>75.303402759124694</c:v>
                </c:pt>
                <c:pt idx="50">
                  <c:v>72.193781171097172</c:v>
                </c:pt>
                <c:pt idx="51">
                  <c:v>69.156691807093296</c:v>
                </c:pt>
                <c:pt idx="52">
                  <c:v>66.200026231356702</c:v>
                </c:pt>
                <c:pt idx="53">
                  <c:v>63.333954775753099</c:v>
                </c:pt>
                <c:pt idx="54">
                  <c:v>60.555406509442236</c:v>
                </c:pt>
                <c:pt idx="55">
                  <c:v>57.872979084159574</c:v>
                </c:pt>
                <c:pt idx="56">
                  <c:v>55.277817600278247</c:v>
                </c:pt>
                <c:pt idx="57">
                  <c:v>52.776168712444033</c:v>
                </c:pt>
                <c:pt idx="58">
                  <c:v>50.367800909943178</c:v>
                </c:pt>
                <c:pt idx="59">
                  <c:v>48.049144493818041</c:v>
                </c:pt>
                <c:pt idx="60">
                  <c:v>45.825394981119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32.63550697427274</c:v>
                </c:pt>
                <c:pt idx="32">
                  <c:v>129.91754509632864</c:v>
                </c:pt>
                <c:pt idx="33">
                  <c:v>127.23810939827376</c:v>
                </c:pt>
                <c:pt idx="34">
                  <c:v>124.71988572157372</c:v>
                </c:pt>
                <c:pt idx="35">
                  <c:v>122.32499398910628</c:v>
                </c:pt>
                <c:pt idx="36">
                  <c:v>120.00741625121358</c:v>
                </c:pt>
                <c:pt idx="37">
                  <c:v>117.82337566482092</c:v>
                </c:pt>
                <c:pt idx="38">
                  <c:v>115.71811799213837</c:v>
                </c:pt>
                <c:pt idx="39">
                  <c:v>113.60088137378791</c:v>
                </c:pt>
                <c:pt idx="40">
                  <c:v>111.49677499012745</c:v>
                </c:pt>
                <c:pt idx="41">
                  <c:v>109.42235153452975</c:v>
                </c:pt>
                <c:pt idx="42">
                  <c:v>107.32253575403809</c:v>
                </c:pt>
                <c:pt idx="43">
                  <c:v>105.16778186015914</c:v>
                </c:pt>
                <c:pt idx="44">
                  <c:v>102.99127735758097</c:v>
                </c:pt>
                <c:pt idx="45">
                  <c:v>100.80404812865186</c:v>
                </c:pt>
                <c:pt idx="46">
                  <c:v>98.61919725857075</c:v>
                </c:pt>
                <c:pt idx="47">
                  <c:v>96.443722419965184</c:v>
                </c:pt>
                <c:pt idx="48">
                  <c:v>94.273585945688851</c:v>
                </c:pt>
                <c:pt idx="49">
                  <c:v>92.082171398258311</c:v>
                </c:pt>
                <c:pt idx="50">
                  <c:v>89.88203600596681</c:v>
                </c:pt>
                <c:pt idx="51">
                  <c:v>87.70027146177361</c:v>
                </c:pt>
                <c:pt idx="52">
                  <c:v>85.540819303857788</c:v>
                </c:pt>
                <c:pt idx="53">
                  <c:v>83.411218797469189</c:v>
                </c:pt>
                <c:pt idx="54">
                  <c:v>81.309592739417425</c:v>
                </c:pt>
                <c:pt idx="55">
                  <c:v>79.24639178191191</c:v>
                </c:pt>
                <c:pt idx="56">
                  <c:v>77.2128058549591</c:v>
                </c:pt>
                <c:pt idx="57">
                  <c:v>75.215761413064598</c:v>
                </c:pt>
                <c:pt idx="58">
                  <c:v>73.256232912040787</c:v>
                </c:pt>
                <c:pt idx="59">
                  <c:v>71.332025133685548</c:v>
                </c:pt>
                <c:pt idx="60">
                  <c:v>69.450840887999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32.86613033122572</c:v>
                </c:pt>
                <c:pt idx="32">
                  <c:v>130.55725985379706</c:v>
                </c:pt>
                <c:pt idx="33">
                  <c:v>128.39824116245623</c:v>
                </c:pt>
                <c:pt idx="34">
                  <c:v>126.46633056337531</c:v>
                </c:pt>
                <c:pt idx="35">
                  <c:v>124.74957914835603</c:v>
                </c:pt>
                <c:pt idx="36">
                  <c:v>123.22520295365855</c:v>
                </c:pt>
                <c:pt idx="37">
                  <c:v>121.96419645033777</c:v>
                </c:pt>
                <c:pt idx="38">
                  <c:v>120.91656931058267</c:v>
                </c:pt>
                <c:pt idx="39">
                  <c:v>119.94678474307233</c:v>
                </c:pt>
                <c:pt idx="40">
                  <c:v>119.05307751097142</c:v>
                </c:pt>
                <c:pt idx="41">
                  <c:v>118.24532627723931</c:v>
                </c:pt>
                <c:pt idx="42">
                  <c:v>117.47152116902127</c:v>
                </c:pt>
                <c:pt idx="43">
                  <c:v>116.69612192873778</c:v>
                </c:pt>
                <c:pt idx="44">
                  <c:v>115.9368660009159</c:v>
                </c:pt>
                <c:pt idx="45">
                  <c:v>115.18864521205501</c:v>
                </c:pt>
                <c:pt idx="46">
                  <c:v>114.44879901799777</c:v>
                </c:pt>
                <c:pt idx="47">
                  <c:v>113.7179398872797</c:v>
                </c:pt>
                <c:pt idx="48">
                  <c:v>112.99031784696366</c:v>
                </c:pt>
                <c:pt idx="49">
                  <c:v>112.2366135361527</c:v>
                </c:pt>
                <c:pt idx="50">
                  <c:v>111.45990935422958</c:v>
                </c:pt>
                <c:pt idx="51">
                  <c:v>110.67912233627855</c:v>
                </c:pt>
                <c:pt idx="52">
                  <c:v>109.89264731639962</c:v>
                </c:pt>
                <c:pt idx="53">
                  <c:v>109.10448622681426</c:v>
                </c:pt>
                <c:pt idx="54">
                  <c:v>108.31188591194848</c:v>
                </c:pt>
                <c:pt idx="55">
                  <c:v>107.52430259934349</c:v>
                </c:pt>
                <c:pt idx="56">
                  <c:v>106.73138415073228</c:v>
                </c:pt>
                <c:pt idx="57">
                  <c:v>105.93715286364473</c:v>
                </c:pt>
                <c:pt idx="58">
                  <c:v>105.14141121200458</c:v>
                </c:pt>
                <c:pt idx="59">
                  <c:v>104.34134537941898</c:v>
                </c:pt>
                <c:pt idx="60">
                  <c:v>103.54470899163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33.21279059733743</c:v>
                </c:pt>
                <c:pt idx="32">
                  <c:v>131.51732935347286</c:v>
                </c:pt>
                <c:pt idx="33">
                  <c:v>130.13744515445342</c:v>
                </c:pt>
                <c:pt idx="34">
                  <c:v>129.08364953691728</c:v>
                </c:pt>
                <c:pt idx="35">
                  <c:v>128.40416245094599</c:v>
                </c:pt>
                <c:pt idx="36">
                  <c:v>128.12950055821358</c:v>
                </c:pt>
                <c:pt idx="37">
                  <c:v>128.36173850257353</c:v>
                </c:pt>
                <c:pt idx="38">
                  <c:v>129.06475810130883</c:v>
                </c:pt>
                <c:pt idx="39">
                  <c:v>130.02562603025214</c:v>
                </c:pt>
                <c:pt idx="40">
                  <c:v>131.21109817358035</c:v>
                </c:pt>
                <c:pt idx="41">
                  <c:v>132.63550958177763</c:v>
                </c:pt>
                <c:pt idx="42">
                  <c:v>134.27366486471038</c:v>
                </c:pt>
                <c:pt idx="43">
                  <c:v>136.08419577413284</c:v>
                </c:pt>
                <c:pt idx="44">
                  <c:v>138.06328165309981</c:v>
                </c:pt>
                <c:pt idx="45">
                  <c:v>140.18023803149714</c:v>
                </c:pt>
                <c:pt idx="46">
                  <c:v>142.40998695958694</c:v>
                </c:pt>
                <c:pt idx="47">
                  <c:v>144.75411135945632</c:v>
                </c:pt>
                <c:pt idx="48">
                  <c:v>147.21397654548613</c:v>
                </c:pt>
                <c:pt idx="49">
                  <c:v>149.75821232126481</c:v>
                </c:pt>
                <c:pt idx="50">
                  <c:v>152.37453838601007</c:v>
                </c:pt>
                <c:pt idx="51">
                  <c:v>155.06820594488076</c:v>
                </c:pt>
                <c:pt idx="52">
                  <c:v>157.82804135135746</c:v>
                </c:pt>
                <c:pt idx="53">
                  <c:v>160.65754086017228</c:v>
                </c:pt>
                <c:pt idx="54">
                  <c:v>163.55721451303322</c:v>
                </c:pt>
                <c:pt idx="55">
                  <c:v>166.53642280584387</c:v>
                </c:pt>
                <c:pt idx="56">
                  <c:v>169.578668809476</c:v>
                </c:pt>
                <c:pt idx="57">
                  <c:v>172.68107941852472</c:v>
                </c:pt>
                <c:pt idx="58">
                  <c:v>175.84002665455029</c:v>
                </c:pt>
                <c:pt idx="59">
                  <c:v>179.05616899048988</c:v>
                </c:pt>
                <c:pt idx="60">
                  <c:v>182.33944225519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5</c:v>
                </c:pt>
                <c:pt idx="1">
                  <c:v>215</c:v>
                </c:pt>
                <c:pt idx="2">
                  <c:v>215</c:v>
                </c:pt>
                <c:pt idx="3">
                  <c:v>215</c:v>
                </c:pt>
                <c:pt idx="4">
                  <c:v>215</c:v>
                </c:pt>
                <c:pt idx="5">
                  <c:v>215</c:v>
                </c:pt>
                <c:pt idx="6">
                  <c:v>215</c:v>
                </c:pt>
                <c:pt idx="7">
                  <c:v>215</c:v>
                </c:pt>
                <c:pt idx="8">
                  <c:v>215</c:v>
                </c:pt>
                <c:pt idx="9">
                  <c:v>215</c:v>
                </c:pt>
                <c:pt idx="10">
                  <c:v>215</c:v>
                </c:pt>
                <c:pt idx="11">
                  <c:v>215</c:v>
                </c:pt>
                <c:pt idx="12">
                  <c:v>215</c:v>
                </c:pt>
                <c:pt idx="13">
                  <c:v>215</c:v>
                </c:pt>
                <c:pt idx="14">
                  <c:v>215</c:v>
                </c:pt>
                <c:pt idx="15">
                  <c:v>215</c:v>
                </c:pt>
                <c:pt idx="16">
                  <c:v>215</c:v>
                </c:pt>
                <c:pt idx="17">
                  <c:v>215</c:v>
                </c:pt>
                <c:pt idx="18">
                  <c:v>215</c:v>
                </c:pt>
                <c:pt idx="19">
                  <c:v>215</c:v>
                </c:pt>
                <c:pt idx="20">
                  <c:v>215</c:v>
                </c:pt>
                <c:pt idx="21">
                  <c:v>215</c:v>
                </c:pt>
                <c:pt idx="22">
                  <c:v>215</c:v>
                </c:pt>
                <c:pt idx="23">
                  <c:v>215</c:v>
                </c:pt>
                <c:pt idx="24">
                  <c:v>215</c:v>
                </c:pt>
                <c:pt idx="25">
                  <c:v>215</c:v>
                </c:pt>
                <c:pt idx="26">
                  <c:v>215</c:v>
                </c:pt>
                <c:pt idx="27">
                  <c:v>215</c:v>
                </c:pt>
                <c:pt idx="28">
                  <c:v>215</c:v>
                </c:pt>
                <c:pt idx="29">
                  <c:v>215</c:v>
                </c:pt>
                <c:pt idx="30">
                  <c:v>215</c:v>
                </c:pt>
                <c:pt idx="31">
                  <c:v>215</c:v>
                </c:pt>
                <c:pt idx="32">
                  <c:v>215</c:v>
                </c:pt>
                <c:pt idx="33">
                  <c:v>215</c:v>
                </c:pt>
                <c:pt idx="34">
                  <c:v>215</c:v>
                </c:pt>
                <c:pt idx="35">
                  <c:v>215</c:v>
                </c:pt>
                <c:pt idx="36">
                  <c:v>215</c:v>
                </c:pt>
                <c:pt idx="37">
                  <c:v>215</c:v>
                </c:pt>
                <c:pt idx="38">
                  <c:v>215</c:v>
                </c:pt>
                <c:pt idx="39">
                  <c:v>215</c:v>
                </c:pt>
                <c:pt idx="40">
                  <c:v>215</c:v>
                </c:pt>
                <c:pt idx="41">
                  <c:v>215</c:v>
                </c:pt>
                <c:pt idx="42">
                  <c:v>215</c:v>
                </c:pt>
                <c:pt idx="43">
                  <c:v>215</c:v>
                </c:pt>
                <c:pt idx="44">
                  <c:v>215</c:v>
                </c:pt>
                <c:pt idx="45">
                  <c:v>215</c:v>
                </c:pt>
                <c:pt idx="46">
                  <c:v>215</c:v>
                </c:pt>
                <c:pt idx="47">
                  <c:v>215</c:v>
                </c:pt>
                <c:pt idx="48">
                  <c:v>215</c:v>
                </c:pt>
                <c:pt idx="49">
                  <c:v>215</c:v>
                </c:pt>
                <c:pt idx="50">
                  <c:v>215</c:v>
                </c:pt>
                <c:pt idx="51">
                  <c:v>215</c:v>
                </c:pt>
                <c:pt idx="52">
                  <c:v>215</c:v>
                </c:pt>
                <c:pt idx="53">
                  <c:v>215</c:v>
                </c:pt>
                <c:pt idx="54">
                  <c:v>215</c:v>
                </c:pt>
                <c:pt idx="55">
                  <c:v>215</c:v>
                </c:pt>
                <c:pt idx="56">
                  <c:v>215</c:v>
                </c:pt>
                <c:pt idx="57">
                  <c:v>215</c:v>
                </c:pt>
                <c:pt idx="58">
                  <c:v>215</c:v>
                </c:pt>
                <c:pt idx="59">
                  <c:v>215</c:v>
                </c:pt>
                <c:pt idx="60">
                  <c:v>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9</c:v>
                </c:pt>
                <c:pt idx="1">
                  <c:v>653</c:v>
                </c:pt>
                <c:pt idx="2">
                  <c:v>645</c:v>
                </c:pt>
                <c:pt idx="3">
                  <c:v>649</c:v>
                </c:pt>
                <c:pt idx="4">
                  <c:v>658</c:v>
                </c:pt>
                <c:pt idx="5">
                  <c:v>621</c:v>
                </c:pt>
                <c:pt idx="6">
                  <c:v>640</c:v>
                </c:pt>
                <c:pt idx="7">
                  <c:v>723</c:v>
                </c:pt>
                <c:pt idx="8">
                  <c:v>705</c:v>
                </c:pt>
                <c:pt idx="9">
                  <c:v>703</c:v>
                </c:pt>
                <c:pt idx="10">
                  <c:v>705</c:v>
                </c:pt>
                <c:pt idx="11">
                  <c:v>680</c:v>
                </c:pt>
                <c:pt idx="12">
                  <c:v>638</c:v>
                </c:pt>
                <c:pt idx="13">
                  <c:v>657</c:v>
                </c:pt>
                <c:pt idx="14">
                  <c:v>813</c:v>
                </c:pt>
                <c:pt idx="15">
                  <c:v>825</c:v>
                </c:pt>
                <c:pt idx="16">
                  <c:v>827</c:v>
                </c:pt>
                <c:pt idx="17">
                  <c:v>801</c:v>
                </c:pt>
                <c:pt idx="18">
                  <c:v>710</c:v>
                </c:pt>
                <c:pt idx="19">
                  <c:v>669</c:v>
                </c:pt>
                <c:pt idx="20">
                  <c:v>666</c:v>
                </c:pt>
                <c:pt idx="21">
                  <c:v>825</c:v>
                </c:pt>
                <c:pt idx="22">
                  <c:v>758</c:v>
                </c:pt>
                <c:pt idx="23">
                  <c:v>722</c:v>
                </c:pt>
                <c:pt idx="24">
                  <c:v>699</c:v>
                </c:pt>
                <c:pt idx="25">
                  <c:v>687</c:v>
                </c:pt>
                <c:pt idx="26">
                  <c:v>634</c:v>
                </c:pt>
                <c:pt idx="27">
                  <c:v>643</c:v>
                </c:pt>
                <c:pt idx="28">
                  <c:v>748</c:v>
                </c:pt>
                <c:pt idx="29">
                  <c:v>733</c:v>
                </c:pt>
                <c:pt idx="30">
                  <c:v>728</c:v>
                </c:pt>
                <c:pt idx="31">
                  <c:v>680</c:v>
                </c:pt>
                <c:pt idx="32">
                  <c:v>630</c:v>
                </c:pt>
                <c:pt idx="33">
                  <c:v>500</c:v>
                </c:pt>
                <c:pt idx="34">
                  <c:v>525</c:v>
                </c:pt>
                <c:pt idx="35">
                  <c:v>530</c:v>
                </c:pt>
                <c:pt idx="36">
                  <c:v>697</c:v>
                </c:pt>
                <c:pt idx="37">
                  <c:v>636</c:v>
                </c:pt>
                <c:pt idx="38">
                  <c:v>574</c:v>
                </c:pt>
                <c:pt idx="39">
                  <c:v>517</c:v>
                </c:pt>
                <c:pt idx="40">
                  <c:v>455</c:v>
                </c:pt>
                <c:pt idx="41">
                  <c:v>458</c:v>
                </c:pt>
                <c:pt idx="42">
                  <c:v>551</c:v>
                </c:pt>
                <c:pt idx="43">
                  <c:v>513</c:v>
                </c:pt>
                <c:pt idx="44">
                  <c:v>495</c:v>
                </c:pt>
                <c:pt idx="45">
                  <c:v>426</c:v>
                </c:pt>
                <c:pt idx="46">
                  <c:v>404</c:v>
                </c:pt>
                <c:pt idx="47">
                  <c:v>374</c:v>
                </c:pt>
                <c:pt idx="48">
                  <c:v>367</c:v>
                </c:pt>
                <c:pt idx="49">
                  <c:v>446</c:v>
                </c:pt>
                <c:pt idx="50">
                  <c:v>412</c:v>
                </c:pt>
                <c:pt idx="51">
                  <c:v>380</c:v>
                </c:pt>
                <c:pt idx="52">
                  <c:v>361</c:v>
                </c:pt>
                <c:pt idx="53">
                  <c:v>35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87.28310705438571</c:v>
                </c:pt>
                <c:pt idx="32">
                  <c:v>670.65081191935531</c:v>
                </c:pt>
                <c:pt idx="33">
                  <c:v>653.6791860065307</c:v>
                </c:pt>
                <c:pt idx="34">
                  <c:v>637.26278383873239</c:v>
                </c:pt>
                <c:pt idx="35">
                  <c:v>621.14223326403453</c:v>
                </c:pt>
                <c:pt idx="36">
                  <c:v>605.01950210845189</c:v>
                </c:pt>
                <c:pt idx="37">
                  <c:v>589.09605696369704</c:v>
                </c:pt>
                <c:pt idx="38">
                  <c:v>573.06176919549091</c:v>
                </c:pt>
                <c:pt idx="39">
                  <c:v>556.6621947048485</c:v>
                </c:pt>
                <c:pt idx="40">
                  <c:v>540.14664506367399</c:v>
                </c:pt>
                <c:pt idx="41">
                  <c:v>523.6657675333729</c:v>
                </c:pt>
                <c:pt idx="42">
                  <c:v>506.96518193387476</c:v>
                </c:pt>
                <c:pt idx="43">
                  <c:v>489.96245843261642</c:v>
                </c:pt>
                <c:pt idx="44">
                  <c:v>472.86240408331423</c:v>
                </c:pt>
                <c:pt idx="45">
                  <c:v>455.78463278043614</c:v>
                </c:pt>
                <c:pt idx="46">
                  <c:v>438.88817735932889</c:v>
                </c:pt>
                <c:pt idx="47">
                  <c:v>422.24092099256438</c:v>
                </c:pt>
                <c:pt idx="48">
                  <c:v>405.83554128068619</c:v>
                </c:pt>
                <c:pt idx="49">
                  <c:v>389.54524927370807</c:v>
                </c:pt>
                <c:pt idx="50">
                  <c:v>373.46065552711707</c:v>
                </c:pt>
                <c:pt idx="51">
                  <c:v>357.75375760250802</c:v>
                </c:pt>
                <c:pt idx="52">
                  <c:v>342.4629137605981</c:v>
                </c:pt>
                <c:pt idx="53">
                  <c:v>327.64716228065402</c:v>
                </c:pt>
                <c:pt idx="54">
                  <c:v>313.28974262214155</c:v>
                </c:pt>
                <c:pt idx="55">
                  <c:v>299.43150137704356</c:v>
                </c:pt>
                <c:pt idx="56">
                  <c:v>286.02466619247457</c:v>
                </c:pt>
                <c:pt idx="57">
                  <c:v>273.10172439532863</c:v>
                </c:pt>
                <c:pt idx="58">
                  <c:v>260.66084214552131</c:v>
                </c:pt>
                <c:pt idx="59">
                  <c:v>248.68398348551727</c:v>
                </c:pt>
                <c:pt idx="60">
                  <c:v>237.197799247463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688.46208344885531</c:v>
                </c:pt>
                <c:pt idx="32">
                  <c:v>673.91778221464494</c:v>
                </c:pt>
                <c:pt idx="33">
                  <c:v>659.60073007750634</c:v>
                </c:pt>
                <c:pt idx="34">
                  <c:v>646.1818406244987</c:v>
                </c:pt>
                <c:pt idx="35">
                  <c:v>633.47405204131974</c:v>
                </c:pt>
                <c:pt idx="36">
                  <c:v>621.2586682797338</c:v>
                </c:pt>
                <c:pt idx="37">
                  <c:v>609.78005112475716</c:v>
                </c:pt>
                <c:pt idx="38">
                  <c:v>598.73872670465255</c:v>
                </c:pt>
                <c:pt idx="39">
                  <c:v>587.66543842833755</c:v>
                </c:pt>
                <c:pt idx="40">
                  <c:v>576.6793569960098</c:v>
                </c:pt>
                <c:pt idx="41">
                  <c:v>565.86598085904347</c:v>
                </c:pt>
                <c:pt idx="42">
                  <c:v>554.94316116713537</c:v>
                </c:pt>
                <c:pt idx="43">
                  <c:v>543.76890520991958</c:v>
                </c:pt>
                <c:pt idx="44">
                  <c:v>532.48856442917838</c:v>
                </c:pt>
                <c:pt idx="45">
                  <c:v>521.1505450286752</c:v>
                </c:pt>
                <c:pt idx="46">
                  <c:v>509.83420696581896</c:v>
                </c:pt>
                <c:pt idx="47">
                  <c:v>498.57462957264306</c:v>
                </c:pt>
                <c:pt idx="48">
                  <c:v>487.34442503183504</c:v>
                </c:pt>
                <c:pt idx="49">
                  <c:v>476.0019082985163</c:v>
                </c:pt>
                <c:pt idx="50">
                  <c:v>464.61636389904959</c:v>
                </c:pt>
                <c:pt idx="51">
                  <c:v>453.32865203742625</c:v>
                </c:pt>
                <c:pt idx="52">
                  <c:v>442.15676692827611</c:v>
                </c:pt>
                <c:pt idx="53">
                  <c:v>431.14636020369835</c:v>
                </c:pt>
                <c:pt idx="54">
                  <c:v>420.28677474021106</c:v>
                </c:pt>
                <c:pt idx="55">
                  <c:v>409.62817646502532</c:v>
                </c:pt>
                <c:pt idx="56">
                  <c:v>399.12317289158278</c:v>
                </c:pt>
                <c:pt idx="57">
                  <c:v>388.80784231936877</c:v>
                </c:pt>
                <c:pt idx="58">
                  <c:v>378.68661628393329</c:v>
                </c:pt>
                <c:pt idx="59">
                  <c:v>368.74853085400252</c:v>
                </c:pt>
                <c:pt idx="60">
                  <c:v>359.03318015910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89.64105984332491</c:v>
                </c:pt>
                <c:pt idx="32">
                  <c:v>677.18845998287316</c:v>
                </c:pt>
                <c:pt idx="33">
                  <c:v>665.53408659100785</c:v>
                </c:pt>
                <c:pt idx="34">
                  <c:v>655.11793964778235</c:v>
                </c:pt>
                <c:pt idx="35">
                  <c:v>645.88700366249338</c:v>
                </c:pt>
                <c:pt idx="36">
                  <c:v>637.74309052564354</c:v>
                </c:pt>
                <c:pt idx="37">
                  <c:v>631.00724174900108</c:v>
                </c:pt>
                <c:pt idx="38">
                  <c:v>625.4054556957434</c:v>
                </c:pt>
                <c:pt idx="39">
                  <c:v>620.23918889665424</c:v>
                </c:pt>
                <c:pt idx="40">
                  <c:v>615.48902917342286</c:v>
                </c:pt>
                <c:pt idx="41">
                  <c:v>611.20485642860478</c:v>
                </c:pt>
                <c:pt idx="42">
                  <c:v>607.11953118228917</c:v>
                </c:pt>
                <c:pt idx="43">
                  <c:v>603.05969191588213</c:v>
                </c:pt>
                <c:pt idx="44">
                  <c:v>599.09103859676861</c:v>
                </c:pt>
                <c:pt idx="45">
                  <c:v>595.17841057603948</c:v>
                </c:pt>
                <c:pt idx="46">
                  <c:v>591.31976832031671</c:v>
                </c:pt>
                <c:pt idx="47">
                  <c:v>587.51663561863529</c:v>
                </c:pt>
                <c:pt idx="48">
                  <c:v>583.73192049529212</c:v>
                </c:pt>
                <c:pt idx="49">
                  <c:v>579.80980228901853</c:v>
                </c:pt>
                <c:pt idx="50">
                  <c:v>575.77077221043453</c:v>
                </c:pt>
                <c:pt idx="51">
                  <c:v>571.71372832671409</c:v>
                </c:pt>
                <c:pt idx="52">
                  <c:v>567.62797403166996</c:v>
                </c:pt>
                <c:pt idx="53">
                  <c:v>563.54100852383908</c:v>
                </c:pt>
                <c:pt idx="54">
                  <c:v>559.43757161817268</c:v>
                </c:pt>
                <c:pt idx="55">
                  <c:v>555.36247054425712</c:v>
                </c:pt>
                <c:pt idx="56">
                  <c:v>551.26046183908647</c:v>
                </c:pt>
                <c:pt idx="57">
                  <c:v>547.15276191592261</c:v>
                </c:pt>
                <c:pt idx="58">
                  <c:v>543.0377931088866</c:v>
                </c:pt>
                <c:pt idx="59">
                  <c:v>538.9013447332477</c:v>
                </c:pt>
                <c:pt idx="60">
                  <c:v>534.7832826637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91.413231907968</c:v>
                </c:pt>
                <c:pt idx="32">
                  <c:v>682.09702039539468</c:v>
                </c:pt>
                <c:pt idx="33">
                  <c:v>674.42904743834015</c:v>
                </c:pt>
                <c:pt idx="34">
                  <c:v>668.51009085908277</c:v>
                </c:pt>
                <c:pt idx="35">
                  <c:v>664.59694510703491</c:v>
                </c:pt>
                <c:pt idx="36">
                  <c:v>662.86653458855733</c:v>
                </c:pt>
                <c:pt idx="37">
                  <c:v>663.80070612608506</c:v>
                </c:pt>
                <c:pt idx="38">
                  <c:v>667.19835755239376</c:v>
                </c:pt>
                <c:pt idx="39">
                  <c:v>671.96513414314575</c:v>
                </c:pt>
                <c:pt idx="40">
                  <c:v>677.91948352745635</c:v>
                </c:pt>
                <c:pt idx="41">
                  <c:v>685.1324161590328</c:v>
                </c:pt>
                <c:pt idx="42">
                  <c:v>693.47355241492573</c:v>
                </c:pt>
                <c:pt idx="43">
                  <c:v>702.73925944879522</c:v>
                </c:pt>
                <c:pt idx="44">
                  <c:v>712.88449378091025</c:v>
                </c:pt>
                <c:pt idx="45">
                  <c:v>723.74204671929851</c:v>
                </c:pt>
                <c:pt idx="46">
                  <c:v>735.19432272746496</c:v>
                </c:pt>
                <c:pt idx="47">
                  <c:v>747.24673419403746</c:v>
                </c:pt>
                <c:pt idx="48">
                  <c:v>759.89742982368773</c:v>
                </c:pt>
                <c:pt idx="49">
                  <c:v>772.97990939675378</c:v>
                </c:pt>
                <c:pt idx="50">
                  <c:v>786.43572162906548</c:v>
                </c:pt>
                <c:pt idx="51">
                  <c:v>800.29369680964373</c:v>
                </c:pt>
                <c:pt idx="52">
                  <c:v>814.49370383582277</c:v>
                </c:pt>
                <c:pt idx="53">
                  <c:v>829.06059258492041</c:v>
                </c:pt>
                <c:pt idx="54">
                  <c:v>843.99562278006761</c:v>
                </c:pt>
                <c:pt idx="55">
                  <c:v>859.34275408066082</c:v>
                </c:pt>
                <c:pt idx="56">
                  <c:v>875.01539579913879</c:v>
                </c:pt>
                <c:pt idx="57">
                  <c:v>890.99946253026155</c:v>
                </c:pt>
                <c:pt idx="58">
                  <c:v>907.27577476288286</c:v>
                </c:pt>
                <c:pt idx="59">
                  <c:v>923.84768416793213</c:v>
                </c:pt>
                <c:pt idx="60">
                  <c:v>940.76622156598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9</c:v>
                </c:pt>
                <c:pt idx="1">
                  <c:v>659</c:v>
                </c:pt>
                <c:pt idx="2">
                  <c:v>659</c:v>
                </c:pt>
                <c:pt idx="3">
                  <c:v>659</c:v>
                </c:pt>
                <c:pt idx="4">
                  <c:v>659</c:v>
                </c:pt>
                <c:pt idx="5">
                  <c:v>659</c:v>
                </c:pt>
                <c:pt idx="6">
                  <c:v>659</c:v>
                </c:pt>
                <c:pt idx="7">
                  <c:v>659</c:v>
                </c:pt>
                <c:pt idx="8">
                  <c:v>659</c:v>
                </c:pt>
                <c:pt idx="9">
                  <c:v>659</c:v>
                </c:pt>
                <c:pt idx="10">
                  <c:v>659</c:v>
                </c:pt>
                <c:pt idx="11">
                  <c:v>659</c:v>
                </c:pt>
                <c:pt idx="12">
                  <c:v>659</c:v>
                </c:pt>
                <c:pt idx="13">
                  <c:v>659</c:v>
                </c:pt>
                <c:pt idx="14">
                  <c:v>659</c:v>
                </c:pt>
                <c:pt idx="15">
                  <c:v>659</c:v>
                </c:pt>
                <c:pt idx="16">
                  <c:v>659</c:v>
                </c:pt>
                <c:pt idx="17">
                  <c:v>659</c:v>
                </c:pt>
                <c:pt idx="18">
                  <c:v>659</c:v>
                </c:pt>
                <c:pt idx="19">
                  <c:v>659</c:v>
                </c:pt>
                <c:pt idx="20">
                  <c:v>659</c:v>
                </c:pt>
                <c:pt idx="21">
                  <c:v>659</c:v>
                </c:pt>
                <c:pt idx="22">
                  <c:v>659</c:v>
                </c:pt>
                <c:pt idx="23">
                  <c:v>659</c:v>
                </c:pt>
                <c:pt idx="24">
                  <c:v>659</c:v>
                </c:pt>
                <c:pt idx="25">
                  <c:v>659</c:v>
                </c:pt>
                <c:pt idx="26">
                  <c:v>659</c:v>
                </c:pt>
                <c:pt idx="27">
                  <c:v>659</c:v>
                </c:pt>
                <c:pt idx="28">
                  <c:v>659</c:v>
                </c:pt>
                <c:pt idx="29">
                  <c:v>659</c:v>
                </c:pt>
                <c:pt idx="30">
                  <c:v>659</c:v>
                </c:pt>
                <c:pt idx="31">
                  <c:v>659</c:v>
                </c:pt>
                <c:pt idx="32">
                  <c:v>659</c:v>
                </c:pt>
                <c:pt idx="33">
                  <c:v>659</c:v>
                </c:pt>
                <c:pt idx="34">
                  <c:v>659</c:v>
                </c:pt>
                <c:pt idx="35">
                  <c:v>659</c:v>
                </c:pt>
                <c:pt idx="36">
                  <c:v>659</c:v>
                </c:pt>
                <c:pt idx="37">
                  <c:v>659</c:v>
                </c:pt>
                <c:pt idx="38">
                  <c:v>659</c:v>
                </c:pt>
                <c:pt idx="39">
                  <c:v>659</c:v>
                </c:pt>
                <c:pt idx="40">
                  <c:v>659</c:v>
                </c:pt>
                <c:pt idx="41">
                  <c:v>659</c:v>
                </c:pt>
                <c:pt idx="42">
                  <c:v>659</c:v>
                </c:pt>
                <c:pt idx="43">
                  <c:v>659</c:v>
                </c:pt>
                <c:pt idx="44">
                  <c:v>659</c:v>
                </c:pt>
                <c:pt idx="45">
                  <c:v>659</c:v>
                </c:pt>
                <c:pt idx="46">
                  <c:v>659</c:v>
                </c:pt>
                <c:pt idx="47">
                  <c:v>659</c:v>
                </c:pt>
                <c:pt idx="48">
                  <c:v>659</c:v>
                </c:pt>
                <c:pt idx="49">
                  <c:v>659</c:v>
                </c:pt>
                <c:pt idx="50">
                  <c:v>659</c:v>
                </c:pt>
                <c:pt idx="51">
                  <c:v>659</c:v>
                </c:pt>
                <c:pt idx="52">
                  <c:v>659</c:v>
                </c:pt>
                <c:pt idx="53">
                  <c:v>659</c:v>
                </c:pt>
                <c:pt idx="54">
                  <c:v>659</c:v>
                </c:pt>
                <c:pt idx="55">
                  <c:v>659</c:v>
                </c:pt>
                <c:pt idx="56">
                  <c:v>659</c:v>
                </c:pt>
                <c:pt idx="57">
                  <c:v>659</c:v>
                </c:pt>
                <c:pt idx="58">
                  <c:v>659</c:v>
                </c:pt>
                <c:pt idx="59">
                  <c:v>659</c:v>
                </c:pt>
                <c:pt idx="60">
                  <c:v>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21</c:v>
                </c:pt>
                <c:pt idx="1">
                  <c:v>435</c:v>
                </c:pt>
                <c:pt idx="2">
                  <c:v>435</c:v>
                </c:pt>
                <c:pt idx="3">
                  <c:v>425</c:v>
                </c:pt>
                <c:pt idx="4">
                  <c:v>422</c:v>
                </c:pt>
                <c:pt idx="5">
                  <c:v>399</c:v>
                </c:pt>
                <c:pt idx="6">
                  <c:v>425</c:v>
                </c:pt>
                <c:pt idx="7">
                  <c:v>473</c:v>
                </c:pt>
                <c:pt idx="8">
                  <c:v>457</c:v>
                </c:pt>
                <c:pt idx="9">
                  <c:v>448</c:v>
                </c:pt>
                <c:pt idx="10">
                  <c:v>442</c:v>
                </c:pt>
                <c:pt idx="11">
                  <c:v>451</c:v>
                </c:pt>
                <c:pt idx="12">
                  <c:v>434</c:v>
                </c:pt>
                <c:pt idx="13">
                  <c:v>455</c:v>
                </c:pt>
                <c:pt idx="14">
                  <c:v>481</c:v>
                </c:pt>
                <c:pt idx="15">
                  <c:v>469</c:v>
                </c:pt>
                <c:pt idx="16">
                  <c:v>436</c:v>
                </c:pt>
                <c:pt idx="17">
                  <c:v>429</c:v>
                </c:pt>
                <c:pt idx="18">
                  <c:v>426</c:v>
                </c:pt>
                <c:pt idx="19">
                  <c:v>404</c:v>
                </c:pt>
                <c:pt idx="20">
                  <c:v>415</c:v>
                </c:pt>
                <c:pt idx="21">
                  <c:v>418</c:v>
                </c:pt>
                <c:pt idx="22">
                  <c:v>406</c:v>
                </c:pt>
                <c:pt idx="23">
                  <c:v>404</c:v>
                </c:pt>
                <c:pt idx="24">
                  <c:v>382</c:v>
                </c:pt>
                <c:pt idx="25">
                  <c:v>371</c:v>
                </c:pt>
                <c:pt idx="26">
                  <c:v>336</c:v>
                </c:pt>
                <c:pt idx="27">
                  <c:v>341</c:v>
                </c:pt>
                <c:pt idx="28">
                  <c:v>354</c:v>
                </c:pt>
                <c:pt idx="29">
                  <c:v>319</c:v>
                </c:pt>
                <c:pt idx="30">
                  <c:v>302</c:v>
                </c:pt>
                <c:pt idx="31">
                  <c:v>292</c:v>
                </c:pt>
                <c:pt idx="32">
                  <c:v>278</c:v>
                </c:pt>
                <c:pt idx="33">
                  <c:v>263</c:v>
                </c:pt>
                <c:pt idx="34">
                  <c:v>273</c:v>
                </c:pt>
                <c:pt idx="35">
                  <c:v>269</c:v>
                </c:pt>
                <c:pt idx="36">
                  <c:v>282</c:v>
                </c:pt>
                <c:pt idx="37">
                  <c:v>266</c:v>
                </c:pt>
                <c:pt idx="38">
                  <c:v>253</c:v>
                </c:pt>
                <c:pt idx="39">
                  <c:v>242</c:v>
                </c:pt>
                <c:pt idx="40">
                  <c:v>210</c:v>
                </c:pt>
                <c:pt idx="41">
                  <c:v>215</c:v>
                </c:pt>
                <c:pt idx="42">
                  <c:v>220</c:v>
                </c:pt>
                <c:pt idx="43">
                  <c:v>220</c:v>
                </c:pt>
                <c:pt idx="44">
                  <c:v>211</c:v>
                </c:pt>
                <c:pt idx="45">
                  <c:v>201</c:v>
                </c:pt>
                <c:pt idx="46">
                  <c:v>199</c:v>
                </c:pt>
                <c:pt idx="47">
                  <c:v>176</c:v>
                </c:pt>
                <c:pt idx="48">
                  <c:v>165</c:v>
                </c:pt>
                <c:pt idx="49">
                  <c:v>176</c:v>
                </c:pt>
                <c:pt idx="50">
                  <c:v>169</c:v>
                </c:pt>
                <c:pt idx="51">
                  <c:v>153</c:v>
                </c:pt>
                <c:pt idx="52">
                  <c:v>142</c:v>
                </c:pt>
                <c:pt idx="53">
                  <c:v>132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04.50676429308066</c:v>
                </c:pt>
                <c:pt idx="32">
                  <c:v>297.43666630792541</c:v>
                </c:pt>
                <c:pt idx="33">
                  <c:v>290.19101155125821</c:v>
                </c:pt>
                <c:pt idx="34">
                  <c:v>283.14447249051108</c:v>
                </c:pt>
                <c:pt idx="35">
                  <c:v>276.17534548183551</c:v>
                </c:pt>
                <c:pt idx="36">
                  <c:v>269.13704991455745</c:v>
                </c:pt>
                <c:pt idx="37">
                  <c:v>262.15427991458802</c:v>
                </c:pt>
                <c:pt idx="38">
                  <c:v>255.10151702354977</c:v>
                </c:pt>
                <c:pt idx="39">
                  <c:v>247.86662350195604</c:v>
                </c:pt>
                <c:pt idx="40">
                  <c:v>240.56867320793671</c:v>
                </c:pt>
                <c:pt idx="41">
                  <c:v>233.27411322313293</c:v>
                </c:pt>
                <c:pt idx="42">
                  <c:v>225.86705601432845</c:v>
                </c:pt>
                <c:pt idx="43">
                  <c:v>218.30249831947972</c:v>
                </c:pt>
                <c:pt idx="44">
                  <c:v>210.69112218895751</c:v>
                </c:pt>
                <c:pt idx="45">
                  <c:v>203.09237487126504</c:v>
                </c:pt>
                <c:pt idx="46">
                  <c:v>195.56859810274358</c:v>
                </c:pt>
                <c:pt idx="47">
                  <c:v>188.15046393217102</c:v>
                </c:pt>
                <c:pt idx="48">
                  <c:v>180.83896961561177</c:v>
                </c:pt>
                <c:pt idx="49">
                  <c:v>173.58047780637446</c:v>
                </c:pt>
                <c:pt idx="50">
                  <c:v>166.41209907007865</c:v>
                </c:pt>
                <c:pt idx="51">
                  <c:v>159.41017583205419</c:v>
                </c:pt>
                <c:pt idx="52">
                  <c:v>152.5936297416568</c:v>
                </c:pt>
                <c:pt idx="53">
                  <c:v>145.98399832383882</c:v>
                </c:pt>
                <c:pt idx="54">
                  <c:v>139.57446218776062</c:v>
                </c:pt>
                <c:pt idx="55">
                  <c:v>133.38591583086003</c:v>
                </c:pt>
                <c:pt idx="56">
                  <c:v>127.39853095945162</c:v>
                </c:pt>
                <c:pt idx="57">
                  <c:v>121.6266552238208</c:v>
                </c:pt>
                <c:pt idx="58">
                  <c:v>116.06994364542646</c:v>
                </c:pt>
                <c:pt idx="59">
                  <c:v>110.72004022373473</c:v>
                </c:pt>
                <c:pt idx="60">
                  <c:v>105.58898795826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05.04253358211258</c:v>
                </c:pt>
                <c:pt idx="32">
                  <c:v>298.9210148138954</c:v>
                </c:pt>
                <c:pt idx="33">
                  <c:v>292.88001273289899</c:v>
                </c:pt>
                <c:pt idx="34">
                  <c:v>287.19157586971443</c:v>
                </c:pt>
                <c:pt idx="35">
                  <c:v>281.76575061148782</c:v>
                </c:pt>
                <c:pt idx="36">
                  <c:v>276.49072210390534</c:v>
                </c:pt>
                <c:pt idx="37">
                  <c:v>271.50987312161897</c:v>
                </c:pt>
                <c:pt idx="38">
                  <c:v>266.70180353098817</c:v>
                </c:pt>
                <c:pt idx="39">
                  <c:v>261.85722411222747</c:v>
                </c:pt>
                <c:pt idx="40">
                  <c:v>257.03719235198406</c:v>
                </c:pt>
                <c:pt idx="41">
                  <c:v>252.27990175077613</c:v>
                </c:pt>
                <c:pt idx="42">
                  <c:v>247.45758208838606</c:v>
                </c:pt>
                <c:pt idx="43">
                  <c:v>242.49891099685055</c:v>
                </c:pt>
                <c:pt idx="44">
                  <c:v>237.48819580473358</c:v>
                </c:pt>
                <c:pt idx="45">
                  <c:v>232.45341149951713</c:v>
                </c:pt>
                <c:pt idx="46">
                  <c:v>227.42132847492488</c:v>
                </c:pt>
                <c:pt idx="47">
                  <c:v>222.40840897869455</c:v>
                </c:pt>
                <c:pt idx="48">
                  <c:v>217.40727368453935</c:v>
                </c:pt>
                <c:pt idx="49">
                  <c:v>212.35775511309936</c:v>
                </c:pt>
                <c:pt idx="50">
                  <c:v>207.28751588072583</c:v>
                </c:pt>
                <c:pt idx="51">
                  <c:v>202.25879263239875</c:v>
                </c:pt>
                <c:pt idx="52">
                  <c:v>197.28138128219294</c:v>
                </c:pt>
                <c:pt idx="53">
                  <c:v>192.37068813945069</c:v>
                </c:pt>
                <c:pt idx="54">
                  <c:v>187.52266672939112</c:v>
                </c:pt>
                <c:pt idx="55">
                  <c:v>182.76256182331679</c:v>
                </c:pt>
                <c:pt idx="56">
                  <c:v>178.07060458585681</c:v>
                </c:pt>
                <c:pt idx="57">
                  <c:v>173.4626876098194</c:v>
                </c:pt>
                <c:pt idx="58">
                  <c:v>168.94123779099749</c:v>
                </c:pt>
                <c:pt idx="59">
                  <c:v>164.50107874001475</c:v>
                </c:pt>
                <c:pt idx="60">
                  <c:v>160.16004096397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05.5783028711445</c:v>
                </c:pt>
                <c:pt idx="32">
                  <c:v>300.40704812895035</c:v>
                </c:pt>
                <c:pt idx="33">
                  <c:v>295.5743810318516</c:v>
                </c:pt>
                <c:pt idx="34">
                  <c:v>291.24641732066482</c:v>
                </c:pt>
                <c:pt idx="35">
                  <c:v>287.39300526935534</c:v>
                </c:pt>
                <c:pt idx="36">
                  <c:v>283.95579186341604</c:v>
                </c:pt>
                <c:pt idx="37">
                  <c:v>281.11212961231337</c:v>
                </c:pt>
                <c:pt idx="38">
                  <c:v>278.75135389989748</c:v>
                </c:pt>
                <c:pt idx="39">
                  <c:v>276.56027341598832</c:v>
                </c:pt>
                <c:pt idx="40">
                  <c:v>274.53786781718111</c:v>
                </c:pt>
                <c:pt idx="41">
                  <c:v>272.70727075982211</c:v>
                </c:pt>
                <c:pt idx="42">
                  <c:v>270.94802940764851</c:v>
                </c:pt>
                <c:pt idx="43">
                  <c:v>269.17511022006858</c:v>
                </c:pt>
                <c:pt idx="44">
                  <c:v>267.43712626520357</c:v>
                </c:pt>
                <c:pt idx="45">
                  <c:v>265.72489342059998</c:v>
                </c:pt>
                <c:pt idx="46">
                  <c:v>264.02880235806231</c:v>
                </c:pt>
                <c:pt idx="47">
                  <c:v>262.35075254285175</c:v>
                </c:pt>
                <c:pt idx="48">
                  <c:v>260.67966863627032</c:v>
                </c:pt>
                <c:pt idx="49">
                  <c:v>258.94919818065131</c:v>
                </c:pt>
                <c:pt idx="50">
                  <c:v>257.16509827945168</c:v>
                </c:pt>
                <c:pt idx="51">
                  <c:v>255.37066581448363</c:v>
                </c:pt>
                <c:pt idx="52">
                  <c:v>253.56291040281289</c:v>
                </c:pt>
                <c:pt idx="53">
                  <c:v>251.74904115042278</c:v>
                </c:pt>
                <c:pt idx="54">
                  <c:v>249.92301371848441</c:v>
                </c:pt>
                <c:pt idx="55">
                  <c:v>248.10784426620279</c:v>
                </c:pt>
                <c:pt idx="56">
                  <c:v>246.28017195351728</c:v>
                </c:pt>
                <c:pt idx="57">
                  <c:v>244.44914720808177</c:v>
                </c:pt>
                <c:pt idx="58">
                  <c:v>242.61447955488859</c:v>
                </c:pt>
                <c:pt idx="59">
                  <c:v>240.76958054558168</c:v>
                </c:pt>
                <c:pt idx="60">
                  <c:v>238.93239518988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06.38364161377734</c:v>
                </c:pt>
                <c:pt idx="32">
                  <c:v>302.63725319613224</c:v>
                </c:pt>
                <c:pt idx="33">
                  <c:v>299.61362337691787</c:v>
                </c:pt>
                <c:pt idx="34">
                  <c:v>297.32322189886179</c:v>
                </c:pt>
                <c:pt idx="35">
                  <c:v>295.87501941627494</c:v>
                </c:pt>
                <c:pt idx="36">
                  <c:v>295.33370672849799</c:v>
                </c:pt>
                <c:pt idx="37">
                  <c:v>295.94827058879594</c:v>
                </c:pt>
                <c:pt idx="38">
                  <c:v>297.63968512068834</c:v>
                </c:pt>
                <c:pt idx="39">
                  <c:v>299.91500092269712</c:v>
                </c:pt>
                <c:pt idx="40">
                  <c:v>302.70042858162356</c:v>
                </c:pt>
                <c:pt idx="41">
                  <c:v>306.0299441664929</c:v>
                </c:pt>
                <c:pt idx="42">
                  <c:v>309.84548318588003</c:v>
                </c:pt>
                <c:pt idx="43">
                  <c:v>314.04861460315158</c:v>
                </c:pt>
                <c:pt idx="44">
                  <c:v>318.63802794157613</c:v>
                </c:pt>
                <c:pt idx="45">
                  <c:v>323.54550700600021</c:v>
                </c:pt>
                <c:pt idx="46">
                  <c:v>328.70964709883202</c:v>
                </c:pt>
                <c:pt idx="47">
                  <c:v>334.13492022163121</c:v>
                </c:pt>
                <c:pt idx="48">
                  <c:v>339.82711697291558</c:v>
                </c:pt>
                <c:pt idx="49">
                  <c:v>345.71517847815846</c:v>
                </c:pt>
                <c:pt idx="50">
                  <c:v>351.76929272045993</c:v>
                </c:pt>
                <c:pt idx="51">
                  <c:v>358.00107018267386</c:v>
                </c:pt>
                <c:pt idx="52">
                  <c:v>364.38544556874882</c:v>
                </c:pt>
                <c:pt idx="53">
                  <c:v>370.92847227531308</c:v>
                </c:pt>
                <c:pt idx="54">
                  <c:v>377.63173484667038</c:v>
                </c:pt>
                <c:pt idx="55">
                  <c:v>384.51813326074296</c:v>
                </c:pt>
                <c:pt idx="56">
                  <c:v>391.55001200117476</c:v>
                </c:pt>
                <c:pt idx="57">
                  <c:v>398.72051785089519</c:v>
                </c:pt>
                <c:pt idx="58">
                  <c:v>406.02141018414443</c:v>
                </c:pt>
                <c:pt idx="59">
                  <c:v>413.45422303088856</c:v>
                </c:pt>
                <c:pt idx="60">
                  <c:v>421.04196821360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6</c:v>
                </c:pt>
                <c:pt idx="1">
                  <c:v>356</c:v>
                </c:pt>
                <c:pt idx="2">
                  <c:v>356</c:v>
                </c:pt>
                <c:pt idx="3">
                  <c:v>356</c:v>
                </c:pt>
                <c:pt idx="4">
                  <c:v>356</c:v>
                </c:pt>
                <c:pt idx="5">
                  <c:v>356</c:v>
                </c:pt>
                <c:pt idx="6">
                  <c:v>356</c:v>
                </c:pt>
                <c:pt idx="7">
                  <c:v>356</c:v>
                </c:pt>
                <c:pt idx="8">
                  <c:v>356</c:v>
                </c:pt>
                <c:pt idx="9">
                  <c:v>356</c:v>
                </c:pt>
                <c:pt idx="10">
                  <c:v>356</c:v>
                </c:pt>
                <c:pt idx="11">
                  <c:v>356</c:v>
                </c:pt>
                <c:pt idx="12">
                  <c:v>356</c:v>
                </c:pt>
                <c:pt idx="13">
                  <c:v>356</c:v>
                </c:pt>
                <c:pt idx="14">
                  <c:v>356</c:v>
                </c:pt>
                <c:pt idx="15">
                  <c:v>356</c:v>
                </c:pt>
                <c:pt idx="16">
                  <c:v>356</c:v>
                </c:pt>
                <c:pt idx="17">
                  <c:v>356</c:v>
                </c:pt>
                <c:pt idx="18">
                  <c:v>356</c:v>
                </c:pt>
                <c:pt idx="19">
                  <c:v>356</c:v>
                </c:pt>
                <c:pt idx="20">
                  <c:v>356</c:v>
                </c:pt>
                <c:pt idx="21">
                  <c:v>356</c:v>
                </c:pt>
                <c:pt idx="22">
                  <c:v>356</c:v>
                </c:pt>
                <c:pt idx="23">
                  <c:v>356</c:v>
                </c:pt>
                <c:pt idx="24">
                  <c:v>356</c:v>
                </c:pt>
                <c:pt idx="25">
                  <c:v>356</c:v>
                </c:pt>
                <c:pt idx="26">
                  <c:v>356</c:v>
                </c:pt>
                <c:pt idx="27">
                  <c:v>356</c:v>
                </c:pt>
                <c:pt idx="28">
                  <c:v>356</c:v>
                </c:pt>
                <c:pt idx="29">
                  <c:v>356</c:v>
                </c:pt>
                <c:pt idx="30">
                  <c:v>356</c:v>
                </c:pt>
                <c:pt idx="31">
                  <c:v>356</c:v>
                </c:pt>
                <c:pt idx="32">
                  <c:v>356</c:v>
                </c:pt>
                <c:pt idx="33">
                  <c:v>356</c:v>
                </c:pt>
                <c:pt idx="34">
                  <c:v>356</c:v>
                </c:pt>
                <c:pt idx="35">
                  <c:v>356</c:v>
                </c:pt>
                <c:pt idx="36">
                  <c:v>356</c:v>
                </c:pt>
                <c:pt idx="37">
                  <c:v>356</c:v>
                </c:pt>
                <c:pt idx="38">
                  <c:v>356</c:v>
                </c:pt>
                <c:pt idx="39">
                  <c:v>356</c:v>
                </c:pt>
                <c:pt idx="40">
                  <c:v>356</c:v>
                </c:pt>
                <c:pt idx="41">
                  <c:v>356</c:v>
                </c:pt>
                <c:pt idx="42">
                  <c:v>356</c:v>
                </c:pt>
                <c:pt idx="43">
                  <c:v>356</c:v>
                </c:pt>
                <c:pt idx="44">
                  <c:v>356</c:v>
                </c:pt>
                <c:pt idx="45">
                  <c:v>356</c:v>
                </c:pt>
                <c:pt idx="46">
                  <c:v>356</c:v>
                </c:pt>
                <c:pt idx="47">
                  <c:v>356</c:v>
                </c:pt>
                <c:pt idx="48">
                  <c:v>356</c:v>
                </c:pt>
                <c:pt idx="49">
                  <c:v>356</c:v>
                </c:pt>
                <c:pt idx="50">
                  <c:v>356</c:v>
                </c:pt>
                <c:pt idx="51">
                  <c:v>356</c:v>
                </c:pt>
                <c:pt idx="52">
                  <c:v>356</c:v>
                </c:pt>
                <c:pt idx="53">
                  <c:v>356</c:v>
                </c:pt>
                <c:pt idx="54">
                  <c:v>356</c:v>
                </c:pt>
                <c:pt idx="55">
                  <c:v>356</c:v>
                </c:pt>
                <c:pt idx="56">
                  <c:v>356</c:v>
                </c:pt>
                <c:pt idx="57">
                  <c:v>356</c:v>
                </c:pt>
                <c:pt idx="58">
                  <c:v>356</c:v>
                </c:pt>
                <c:pt idx="59">
                  <c:v>356</c:v>
                </c:pt>
                <c:pt idx="60">
                  <c:v>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85</c:v>
                </c:pt>
                <c:pt idx="1">
                  <c:v>575</c:v>
                </c:pt>
                <c:pt idx="2">
                  <c:v>560</c:v>
                </c:pt>
                <c:pt idx="3">
                  <c:v>552</c:v>
                </c:pt>
                <c:pt idx="4">
                  <c:v>544</c:v>
                </c:pt>
                <c:pt idx="5">
                  <c:v>498</c:v>
                </c:pt>
                <c:pt idx="6">
                  <c:v>513</c:v>
                </c:pt>
                <c:pt idx="7">
                  <c:v>528</c:v>
                </c:pt>
                <c:pt idx="8">
                  <c:v>517</c:v>
                </c:pt>
                <c:pt idx="9">
                  <c:v>503</c:v>
                </c:pt>
                <c:pt idx="10">
                  <c:v>496</c:v>
                </c:pt>
                <c:pt idx="11">
                  <c:v>489</c:v>
                </c:pt>
                <c:pt idx="12">
                  <c:v>445</c:v>
                </c:pt>
                <c:pt idx="13">
                  <c:v>462</c:v>
                </c:pt>
                <c:pt idx="14">
                  <c:v>496</c:v>
                </c:pt>
                <c:pt idx="15">
                  <c:v>466</c:v>
                </c:pt>
                <c:pt idx="16">
                  <c:v>451</c:v>
                </c:pt>
                <c:pt idx="17">
                  <c:v>434</c:v>
                </c:pt>
                <c:pt idx="18">
                  <c:v>415</c:v>
                </c:pt>
                <c:pt idx="19">
                  <c:v>387</c:v>
                </c:pt>
                <c:pt idx="20">
                  <c:v>396</c:v>
                </c:pt>
                <c:pt idx="21">
                  <c:v>418</c:v>
                </c:pt>
                <c:pt idx="22">
                  <c:v>383</c:v>
                </c:pt>
                <c:pt idx="23">
                  <c:v>374</c:v>
                </c:pt>
                <c:pt idx="24">
                  <c:v>357</c:v>
                </c:pt>
                <c:pt idx="25">
                  <c:v>353</c:v>
                </c:pt>
                <c:pt idx="26">
                  <c:v>337</c:v>
                </c:pt>
                <c:pt idx="27">
                  <c:v>341</c:v>
                </c:pt>
                <c:pt idx="28">
                  <c:v>350</c:v>
                </c:pt>
                <c:pt idx="29">
                  <c:v>331</c:v>
                </c:pt>
                <c:pt idx="30">
                  <c:v>312</c:v>
                </c:pt>
                <c:pt idx="31">
                  <c:v>290</c:v>
                </c:pt>
                <c:pt idx="32">
                  <c:v>256</c:v>
                </c:pt>
                <c:pt idx="33">
                  <c:v>260</c:v>
                </c:pt>
                <c:pt idx="34">
                  <c:v>261</c:v>
                </c:pt>
                <c:pt idx="35">
                  <c:v>259</c:v>
                </c:pt>
                <c:pt idx="36">
                  <c:v>279</c:v>
                </c:pt>
                <c:pt idx="37">
                  <c:v>250</c:v>
                </c:pt>
                <c:pt idx="38">
                  <c:v>225</c:v>
                </c:pt>
                <c:pt idx="39">
                  <c:v>210</c:v>
                </c:pt>
                <c:pt idx="40">
                  <c:v>187</c:v>
                </c:pt>
                <c:pt idx="41">
                  <c:v>184</c:v>
                </c:pt>
                <c:pt idx="42">
                  <c:v>181</c:v>
                </c:pt>
                <c:pt idx="43">
                  <c:v>154</c:v>
                </c:pt>
                <c:pt idx="44">
                  <c:v>138</c:v>
                </c:pt>
                <c:pt idx="45">
                  <c:v>131</c:v>
                </c:pt>
                <c:pt idx="46">
                  <c:v>126</c:v>
                </c:pt>
                <c:pt idx="47">
                  <c:v>113</c:v>
                </c:pt>
                <c:pt idx="48">
                  <c:v>109</c:v>
                </c:pt>
                <c:pt idx="49">
                  <c:v>112</c:v>
                </c:pt>
                <c:pt idx="50">
                  <c:v>104</c:v>
                </c:pt>
                <c:pt idx="51">
                  <c:v>98</c:v>
                </c:pt>
                <c:pt idx="52">
                  <c:v>95</c:v>
                </c:pt>
                <c:pt idx="53">
                  <c:v>9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15.3206268763202</c:v>
                </c:pt>
                <c:pt idx="32">
                  <c:v>307.88474246760438</c:v>
                </c:pt>
                <c:pt idx="33">
                  <c:v>300.27674007792064</c:v>
                </c:pt>
                <c:pt idx="34">
                  <c:v>292.89291079769509</c:v>
                </c:pt>
                <c:pt idx="35">
                  <c:v>285.60983267112931</c:v>
                </c:pt>
                <c:pt idx="36">
                  <c:v>278.28129602647113</c:v>
                </c:pt>
                <c:pt idx="37">
                  <c:v>271.02282921969572</c:v>
                </c:pt>
                <c:pt idx="38">
                  <c:v>263.69989585156475</c:v>
                </c:pt>
                <c:pt idx="39">
                  <c:v>256.19614723202892</c:v>
                </c:pt>
                <c:pt idx="40">
                  <c:v>248.63158095105319</c:v>
                </c:pt>
                <c:pt idx="41">
                  <c:v>241.07511832824167</c:v>
                </c:pt>
                <c:pt idx="42">
                  <c:v>233.40797721765747</c:v>
                </c:pt>
                <c:pt idx="43">
                  <c:v>225.58681035836585</c:v>
                </c:pt>
                <c:pt idx="44">
                  <c:v>217.71858008943923</c:v>
                </c:pt>
                <c:pt idx="45">
                  <c:v>209.86236971139894</c:v>
                </c:pt>
                <c:pt idx="46">
                  <c:v>202.08584985971567</c:v>
                </c:pt>
                <c:pt idx="47">
                  <c:v>194.42055324060198</c:v>
                </c:pt>
                <c:pt idx="48">
                  <c:v>186.86588523689699</c:v>
                </c:pt>
                <c:pt idx="49">
                  <c:v>179.365330123078</c:v>
                </c:pt>
                <c:pt idx="50">
                  <c:v>171.95848085177667</c:v>
                </c:pt>
                <c:pt idx="51">
                  <c:v>164.72433825753427</c:v>
                </c:pt>
                <c:pt idx="52">
                  <c:v>157.68175675977474</c:v>
                </c:pt>
                <c:pt idx="53">
                  <c:v>150.85481120022035</c:v>
                </c:pt>
                <c:pt idx="54">
                  <c:v>144.23620731958118</c:v>
                </c:pt>
                <c:pt idx="55">
                  <c:v>137.84650852173192</c:v>
                </c:pt>
                <c:pt idx="56">
                  <c:v>131.66466915132261</c:v>
                </c:pt>
                <c:pt idx="57">
                  <c:v>125.70556408571267</c:v>
                </c:pt>
                <c:pt idx="58">
                  <c:v>119.96865672737766</c:v>
                </c:pt>
                <c:pt idx="59">
                  <c:v>114.44543437144654</c:v>
                </c:pt>
                <c:pt idx="60">
                  <c:v>109.14827749283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15.87027658036777</c:v>
                </c:pt>
                <c:pt idx="32">
                  <c:v>309.40765151361865</c:v>
                </c:pt>
                <c:pt idx="33">
                  <c:v>303.03614011487764</c:v>
                </c:pt>
                <c:pt idx="34">
                  <c:v>297.04712241596314</c:v>
                </c:pt>
                <c:pt idx="35">
                  <c:v>291.35016439788808</c:v>
                </c:pt>
                <c:pt idx="36">
                  <c:v>285.83520440517339</c:v>
                </c:pt>
                <c:pt idx="37">
                  <c:v>280.63724453198768</c:v>
                </c:pt>
                <c:pt idx="38">
                  <c:v>275.626244057137</c:v>
                </c:pt>
                <c:pt idx="39">
                  <c:v>270.58601116418504</c:v>
                </c:pt>
                <c:pt idx="40">
                  <c:v>265.57660345962074</c:v>
                </c:pt>
                <c:pt idx="41">
                  <c:v>260.63745084167056</c:v>
                </c:pt>
                <c:pt idx="42">
                  <c:v>255.6373051765072</c:v>
                </c:pt>
                <c:pt idx="43">
                  <c:v>250.50553829217773</c:v>
                </c:pt>
                <c:pt idx="44">
                  <c:v>245.32181359662627</c:v>
                </c:pt>
                <c:pt idx="45">
                  <c:v>240.11259495046423</c:v>
                </c:pt>
                <c:pt idx="46">
                  <c:v>234.90882260548483</c:v>
                </c:pt>
                <c:pt idx="47">
                  <c:v>229.72719044629895</c:v>
                </c:pt>
                <c:pt idx="48">
                  <c:v>224.55823276079786</c:v>
                </c:pt>
                <c:pt idx="49">
                  <c:v>219.33864504252716</c:v>
                </c:pt>
                <c:pt idx="50">
                  <c:v>214.09823649104649</c:v>
                </c:pt>
                <c:pt idx="51">
                  <c:v>208.90152019942212</c:v>
                </c:pt>
                <c:pt idx="52">
                  <c:v>203.75794039148474</c:v>
                </c:pt>
                <c:pt idx="53">
                  <c:v>198.68529974444917</c:v>
                </c:pt>
                <c:pt idx="54">
                  <c:v>193.67914901468936</c:v>
                </c:pt>
                <c:pt idx="55">
                  <c:v>188.7644714813562</c:v>
                </c:pt>
                <c:pt idx="56">
                  <c:v>183.92032481809863</c:v>
                </c:pt>
                <c:pt idx="57">
                  <c:v>179.16320138469942</c:v>
                </c:pt>
                <c:pt idx="58">
                  <c:v>174.4954364504477</c:v>
                </c:pt>
                <c:pt idx="59">
                  <c:v>169.91179207936881</c:v>
                </c:pt>
                <c:pt idx="60">
                  <c:v>165.430621501247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16.4199262844154</c:v>
                </c:pt>
                <c:pt idx="32">
                  <c:v>310.93228901782174</c:v>
                </c:pt>
                <c:pt idx="33">
                  <c:v>305.80104664720238</c:v>
                </c:pt>
                <c:pt idx="34">
                  <c:v>301.20927502376736</c:v>
                </c:pt>
                <c:pt idx="35">
                  <c:v>297.12830786910069</c:v>
                </c:pt>
                <c:pt idx="36">
                  <c:v>293.50341718321033</c:v>
                </c:pt>
                <c:pt idx="37">
                  <c:v>290.5047826434506</c:v>
                </c:pt>
                <c:pt idx="38">
                  <c:v>288.01369137364753</c:v>
                </c:pt>
                <c:pt idx="39">
                  <c:v>285.70724761410747</c:v>
                </c:pt>
                <c:pt idx="40">
                  <c:v>283.58148650910505</c:v>
                </c:pt>
                <c:pt idx="41">
                  <c:v>281.65996657806414</c:v>
                </c:pt>
                <c:pt idx="42">
                  <c:v>279.81876089652087</c:v>
                </c:pt>
                <c:pt idx="43">
                  <c:v>277.97297143531409</c:v>
                </c:pt>
                <c:pt idx="44">
                  <c:v>276.16545473237483</c:v>
                </c:pt>
                <c:pt idx="45">
                  <c:v>274.38424736145748</c:v>
                </c:pt>
                <c:pt idx="46">
                  <c:v>272.62273874995168</c:v>
                </c:pt>
                <c:pt idx="47">
                  <c:v>270.8824260915988</c:v>
                </c:pt>
                <c:pt idx="48">
                  <c:v>269.14978486908893</c:v>
                </c:pt>
                <c:pt idx="49">
                  <c:v>267.35507605396549</c:v>
                </c:pt>
                <c:pt idx="50">
                  <c:v>265.50553559882843</c:v>
                </c:pt>
                <c:pt idx="51">
                  <c:v>263.64619777213306</c:v>
                </c:pt>
                <c:pt idx="52">
                  <c:v>261.77329503739736</c:v>
                </c:pt>
                <c:pt idx="53">
                  <c:v>259.89620108072205</c:v>
                </c:pt>
                <c:pt idx="54">
                  <c:v>258.00838189908717</c:v>
                </c:pt>
                <c:pt idx="55">
                  <c:v>256.13245715275588</c:v>
                </c:pt>
                <c:pt idx="56">
                  <c:v>254.24380851750345</c:v>
                </c:pt>
                <c:pt idx="57">
                  <c:v>252.35200717268035</c:v>
                </c:pt>
                <c:pt idx="58">
                  <c:v>250.45659559440739</c:v>
                </c:pt>
                <c:pt idx="59">
                  <c:v>248.55086349645666</c:v>
                </c:pt>
                <c:pt idx="60">
                  <c:v>246.653284939758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17.24612929867561</c:v>
                </c:pt>
                <c:pt idx="32">
                  <c:v>313.22043062402213</c:v>
                </c:pt>
                <c:pt idx="33">
                  <c:v>309.94603811318399</c:v>
                </c:pt>
                <c:pt idx="34">
                  <c:v>307.44690703304587</c:v>
                </c:pt>
                <c:pt idx="35">
                  <c:v>305.83772111358348</c:v>
                </c:pt>
                <c:pt idx="36">
                  <c:v>305.19072350086401</c:v>
                </c:pt>
                <c:pt idx="37">
                  <c:v>305.75012316388046</c:v>
                </c:pt>
                <c:pt idx="38">
                  <c:v>307.43022275989722</c:v>
                </c:pt>
                <c:pt idx="39">
                  <c:v>309.72366917776515</c:v>
                </c:pt>
                <c:pt idx="40">
                  <c:v>312.55150162114666</c:v>
                </c:pt>
                <c:pt idx="41">
                  <c:v>315.94793812226658</c:v>
                </c:pt>
                <c:pt idx="42">
                  <c:v>319.852966746785</c:v>
                </c:pt>
                <c:pt idx="43">
                  <c:v>324.16781063292615</c:v>
                </c:pt>
                <c:pt idx="44">
                  <c:v>328.8839589150773</c:v>
                </c:pt>
                <c:pt idx="45">
                  <c:v>333.92852190713273</c:v>
                </c:pt>
                <c:pt idx="46">
                  <c:v>339.24148342251073</c:v>
                </c:pt>
                <c:pt idx="47">
                  <c:v>344.82667857082942</c:v>
                </c:pt>
                <c:pt idx="48">
                  <c:v>350.68756729278323</c:v>
                </c:pt>
                <c:pt idx="49">
                  <c:v>356.74952731632919</c:v>
                </c:pt>
                <c:pt idx="50">
                  <c:v>362.98318981168768</c:v>
                </c:pt>
                <c:pt idx="51">
                  <c:v>369.40102378629979</c:v>
                </c:pt>
                <c:pt idx="52">
                  <c:v>375.97646904256203</c:v>
                </c:pt>
                <c:pt idx="53">
                  <c:v>382.71769557236775</c:v>
                </c:pt>
                <c:pt idx="54">
                  <c:v>389.62595040001207</c:v>
                </c:pt>
                <c:pt idx="55">
                  <c:v>396.72363337992255</c:v>
                </c:pt>
                <c:pt idx="56">
                  <c:v>403.97147963986157</c:v>
                </c:pt>
                <c:pt idx="57">
                  <c:v>411.36262759822716</c:v>
                </c:pt>
                <c:pt idx="58">
                  <c:v>418.88844537309319</c:v>
                </c:pt>
                <c:pt idx="59">
                  <c:v>426.55050265626983</c:v>
                </c:pt>
                <c:pt idx="60">
                  <c:v>434.3724741856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49</c:v>
                </c:pt>
                <c:pt idx="1">
                  <c:v>449</c:v>
                </c:pt>
                <c:pt idx="2">
                  <c:v>449</c:v>
                </c:pt>
                <c:pt idx="3">
                  <c:v>449</c:v>
                </c:pt>
                <c:pt idx="4">
                  <c:v>449</c:v>
                </c:pt>
                <c:pt idx="5">
                  <c:v>449</c:v>
                </c:pt>
                <c:pt idx="6">
                  <c:v>449</c:v>
                </c:pt>
                <c:pt idx="7">
                  <c:v>449</c:v>
                </c:pt>
                <c:pt idx="8">
                  <c:v>449</c:v>
                </c:pt>
                <c:pt idx="9">
                  <c:v>449</c:v>
                </c:pt>
                <c:pt idx="10">
                  <c:v>449</c:v>
                </c:pt>
                <c:pt idx="11">
                  <c:v>449</c:v>
                </c:pt>
                <c:pt idx="12">
                  <c:v>449</c:v>
                </c:pt>
                <c:pt idx="13">
                  <c:v>449</c:v>
                </c:pt>
                <c:pt idx="14">
                  <c:v>449</c:v>
                </c:pt>
                <c:pt idx="15">
                  <c:v>449</c:v>
                </c:pt>
                <c:pt idx="16">
                  <c:v>449</c:v>
                </c:pt>
                <c:pt idx="17">
                  <c:v>449</c:v>
                </c:pt>
                <c:pt idx="18">
                  <c:v>449</c:v>
                </c:pt>
                <c:pt idx="19">
                  <c:v>449</c:v>
                </c:pt>
                <c:pt idx="20">
                  <c:v>449</c:v>
                </c:pt>
                <c:pt idx="21">
                  <c:v>449</c:v>
                </c:pt>
                <c:pt idx="22">
                  <c:v>449</c:v>
                </c:pt>
                <c:pt idx="23">
                  <c:v>449</c:v>
                </c:pt>
                <c:pt idx="24">
                  <c:v>449</c:v>
                </c:pt>
                <c:pt idx="25">
                  <c:v>449</c:v>
                </c:pt>
                <c:pt idx="26">
                  <c:v>449</c:v>
                </c:pt>
                <c:pt idx="27">
                  <c:v>449</c:v>
                </c:pt>
                <c:pt idx="28">
                  <c:v>449</c:v>
                </c:pt>
                <c:pt idx="29">
                  <c:v>449</c:v>
                </c:pt>
                <c:pt idx="30">
                  <c:v>449</c:v>
                </c:pt>
                <c:pt idx="31">
                  <c:v>449</c:v>
                </c:pt>
                <c:pt idx="32">
                  <c:v>449</c:v>
                </c:pt>
                <c:pt idx="33">
                  <c:v>449</c:v>
                </c:pt>
                <c:pt idx="34">
                  <c:v>449</c:v>
                </c:pt>
                <c:pt idx="35">
                  <c:v>449</c:v>
                </c:pt>
                <c:pt idx="36">
                  <c:v>449</c:v>
                </c:pt>
                <c:pt idx="37">
                  <c:v>449</c:v>
                </c:pt>
                <c:pt idx="38">
                  <c:v>449</c:v>
                </c:pt>
                <c:pt idx="39">
                  <c:v>449</c:v>
                </c:pt>
                <c:pt idx="40">
                  <c:v>449</c:v>
                </c:pt>
                <c:pt idx="41">
                  <c:v>449</c:v>
                </c:pt>
                <c:pt idx="42">
                  <c:v>449</c:v>
                </c:pt>
                <c:pt idx="43">
                  <c:v>449</c:v>
                </c:pt>
                <c:pt idx="44">
                  <c:v>449</c:v>
                </c:pt>
                <c:pt idx="45">
                  <c:v>449</c:v>
                </c:pt>
                <c:pt idx="46">
                  <c:v>449</c:v>
                </c:pt>
                <c:pt idx="47">
                  <c:v>449</c:v>
                </c:pt>
                <c:pt idx="48">
                  <c:v>449</c:v>
                </c:pt>
                <c:pt idx="49">
                  <c:v>449</c:v>
                </c:pt>
                <c:pt idx="50">
                  <c:v>449</c:v>
                </c:pt>
                <c:pt idx="51">
                  <c:v>449</c:v>
                </c:pt>
                <c:pt idx="52">
                  <c:v>449</c:v>
                </c:pt>
                <c:pt idx="53">
                  <c:v>449</c:v>
                </c:pt>
                <c:pt idx="54">
                  <c:v>449</c:v>
                </c:pt>
                <c:pt idx="55">
                  <c:v>449</c:v>
                </c:pt>
                <c:pt idx="56">
                  <c:v>449</c:v>
                </c:pt>
                <c:pt idx="57">
                  <c:v>449</c:v>
                </c:pt>
                <c:pt idx="58">
                  <c:v>449</c:v>
                </c:pt>
                <c:pt idx="59">
                  <c:v>449</c:v>
                </c:pt>
                <c:pt idx="60">
                  <c:v>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7079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4191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6027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69371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36877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20581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21882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047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79741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97682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4570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18688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13219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63545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4980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5152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02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500605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91193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8586703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36953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105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724540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04713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94731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86732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27772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13008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82186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6763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1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34448640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DBA8862-7EC8-4236-BD88-84C58FE0D54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43DA75C-A493-410B-A92F-56CB961AD5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6890140F-289C-4968-BD5B-4C3014F0D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106416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95B3CE86-E6FF-4F9D-9FAD-C52D419354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510069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B1C83CE-DA16-4123-9921-412F48EA121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249156E-7368-47A8-A881-95136294B7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075F3F7-812A-4F2D-BE72-796CA52208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A1D3E24-A13B-4D1F-8AD4-48137EA2C5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0B1D5ED-70C8-40B5-93FB-913152ADDB0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8224083B-A0C3-4372-ADC1-CA17BF02BB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2965F90-6C84-4C34-B67E-7C4DE25E0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2857E5B4-B0F7-43A1-9A8A-D50C30DEDE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11658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74E6D6B-9D4A-4D8A-9EDD-65584929BD5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C928E801-69D9-4148-A8EB-E1A475AD8B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AA624A1E-EABB-46AD-ABFE-2465611643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337289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7935B4D7-EE8E-426F-BD36-88E8FE4658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104661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8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10C0B1B-414D-4D1B-9AF1-7690C6498A5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88B65171-E930-4557-B8C1-9CB2A315A9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A0FBC56-AD24-4F15-8185-649CAE8EAC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881D462-5642-4D3E-BAB7-6B390CD93B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B5B29CF-1921-44C4-AEB6-05FA555AC71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0FFAC40-A735-4DDB-AF68-B52391099C6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7B7D849-CAA9-45B4-968C-2B1437F1A5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2B36E-D6FF-46FC-99CE-741008C9FE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81403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9B29871-BA80-4B14-BA07-20AB76A4D04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9851B7DA-C11B-4D80-9482-1491643DC1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80EF8D6B-A098-440D-A14B-EC87C68BFBB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26548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BD499936-9EBE-4887-9519-396767B69B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56127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5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9A7D1C2-B193-45B2-AB97-2DAB2E26741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9748B78-4EB9-44D4-80E6-D349FB382D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11F956C-CBE0-47BE-BD84-89AC817866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342ECBF-A32B-4F3F-BFCA-38233021085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C2EF438-E2FF-4A3C-A4AE-9392B0C52B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760DEBF-2751-43C5-B24C-C68928CE42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C97B324-75F7-4BE7-8278-4C586F9C6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8D3ADFA-DBC6-4422-8697-68EED5A020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575770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A9DF3F08-CB1D-4E7E-A6C5-CF6113EA022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CE229A99-2B0E-4F98-8B42-FC4161B88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55ABC8DC-6845-4C83-BBBE-11B38977CD7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830674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F08F28F3-8BDB-42CF-B63F-FEF0B8D8C7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032139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8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20BF65F-FFC4-409C-8121-D3AFEF0D6DA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B81BE2E-0D96-4F17-A6DD-F611191779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C56ABA-3005-4FF1-910B-9E7AB7A39D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54AA1CD9-6E8F-41A7-B419-710428C983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4B2A975-708E-4A54-9D9D-DB8B9B3A00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1A7BD14-6401-46FA-9599-937ACF15B4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64D6A5-44C4-436A-8DF0-8AE0CD892B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ACA393E-AA33-4AB7-8B70-888969FA8D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7864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25B77329-5F94-4950-A7E1-5AE6F43BB3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5528F7CD-7BB1-4B65-A8A9-8A1537EB00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558392B3-BA27-4408-B0A5-CAC7502FA8F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155610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6BBA7A3F-AD94-4B19-BFAA-394C6501F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9400180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87C078B-1A9E-43F3-9042-5B2B3BDB33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F9B9090-96A8-4746-90F7-6F7BC6317D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49C9C8-D04F-458B-92C5-45AD919572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9B905F4-8A76-4ECA-BE21-5C60F10B5C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D7A2E8D-3C0E-4BE5-9DA9-5B6868AE98E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238EC515-E37E-4C2E-A1B9-9B6CDA0857B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AA6C1F0-0104-4B63-A6ED-3012228F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A0942D0-9FBA-4E09-975F-9022B02D43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0179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D2DFDD4-2601-453F-AB31-678732B45A2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043B3663-C118-4C75-BFC9-112848E980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9BF00D79-D8DD-4184-9481-C587FEC4485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925246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90A671FA-4091-4D5F-9007-F331821C82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98614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1FC0936-DB52-4429-85F1-B8CDA89459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7B48733-D84F-48E8-912A-A500E93A8C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5B81E979-7853-40D7-B363-5B1939AE7D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C5A8107-5B6C-43E9-AF24-7193F5FF16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41F9E13-D942-4F8A-B05B-308F6E3B766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0" name="TextovéPole 28">
              <a:extLst>
                <a:ext uri="{FF2B5EF4-FFF2-40B4-BE49-F238E27FC236}">
                  <a16:creationId xmlns:a16="http://schemas.microsoft.com/office/drawing/2014/main" id="{3D2872EB-B837-46B4-ADB5-8A0654CF16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34BD7692-0DEE-45AC-9D76-37404D60CB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F44597B-5576-4183-8191-A001BB5B09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999786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48E02A2-D782-4135-9AB0-4A669D8B249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5EF53F91-2358-4DD7-B54D-DFA92D3C58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F24CA985-435A-4402-B726-04D881A0F1D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05191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73574410-FA57-440D-B3F9-B9C6FAC784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345380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8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59F844-5B8D-44F0-98D9-71D980A2C72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EEA2E5A-9BEF-4D16-B273-B58AAF1F91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BD7A6C-C6EA-426A-838E-D093A2FC99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39C81DA-3B76-4251-935C-0AC6E45FBE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336EAC2-F0A6-40D4-9918-1F9B9AE8D7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964A91A-079F-4B30-A74C-2D08DA73C6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682DE36-90D6-476D-B5D2-5A75101FDC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A10ADD-3F81-48CF-8C65-853D6BD222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324752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5545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854332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3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27A0D70F-E8F3-4B7E-9E45-429367B62D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512071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85934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3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07401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6F005B09-8252-4476-9909-3D32139419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50630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2408D31-554A-415D-BCA4-AC165231C57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BECE22-78D3-4C6C-8323-E37CAA8D0E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A459BE5-9D4C-46D1-8012-7017AA7510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F64E76C3-42A7-4DBA-AE75-A7A5CC7D3C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9F96CDB6-E409-4D92-A8AD-CDF6F6F4A5C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855829A-993C-4EC5-AB4B-164F22A0F9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1E55D95-CE45-4255-A182-140D867AFB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7169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03536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F3795F70-D6C8-40D1-BF0C-BB951C83BC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03249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54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924131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78990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612E9CA8-5E74-4627-B697-C8FF38162D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540520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0894182-4B16-4B59-A9BF-2AB36C3792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B13AED0-BA39-4D40-BBA7-FF03D8235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F07CF5-5797-4B42-A4C3-740D327F65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13CC4F40-C5FE-4B93-BEC1-1359D55791F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71E8476-ACDF-42F2-A9A8-2C81C5E250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30898F71-44E0-4D37-B67B-F4CC23E506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30D279E-9808-4A3B-8D85-015CBDFF2C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404301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89212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F2F4858-0E2B-45A1-901A-D34F89071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7649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7202FC2-0356-4B9C-A72E-9ECFEC16944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C980249-0B66-481B-B51B-03BD9508F2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CD235C-EE08-4FF3-A174-19730DE86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B425321-A926-4A3E-A40A-B6CD1EC662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AF593D3-B4C8-4787-BFEA-837B421FD4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F6AF525-071E-4E11-9068-4BA28BDBEA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6D9291D-F739-4D17-A655-FBF090CD8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24027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599642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1910262-E2B6-4EEA-9CCC-1706EFBE54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45519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85C2874-71BB-41BB-BA0B-B536D7402E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5EA020C-31AB-4FAC-91A3-71A4CCABD7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97D2AC9E-25EC-4C87-9420-1E9A1EB56B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9B645AE-4D87-48BA-9B93-972BCE740E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0665E3-B8D6-4E37-B531-80DFE6E2855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FA3B3C5-1394-47C8-914A-5BE763E191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0D46ED5-39AC-4144-9611-645B21B9C2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33920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01561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0E2A9DD6-522E-4D37-A0D9-1A857BF1B3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579849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572D91E-C035-4EEF-994A-A856522F99F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8B96B4-0052-45DF-8E7F-FFD69E5A5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204E652-3974-49D4-9EE4-4FE225511A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070E1B46-7628-4FEB-85AC-933A54061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EFF5605-E40C-4678-94C5-4A5766BB11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52FECDA6-BEF1-44FD-99FA-88E62AB633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D7779F-9002-4776-B0FE-039DA0EDF2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63915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811103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6DC589E4-965D-4A0C-A14D-4409ACB500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993893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63A73E8-090A-4A7F-B013-F03BE8C42D2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6399334-EFA4-4D1B-898B-80A7F1FF70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9149621D-6C6C-4BDD-A76A-EE7267F3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D9960F5-4630-4489-A3EA-7E63CC9039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F97AB94-D381-487A-8F1F-52D2E90455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044ADC2-1796-4059-81F5-5408837426B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9C332A6-FB38-427D-953D-8C91399058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127783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89891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4897B1F2-E31A-43D3-8C2E-384571F8FC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90202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994BB4-AB5C-40D9-83B1-BB3E6C87AA2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ADF2BA-7B54-4FB5-8228-5BF8B9EDD4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555C7B3-7F7A-4E8B-928D-D7DE7E7A11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1DC02DB-DAB6-4A28-9AAC-74BBEC4D24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B2550C-0AF5-45F3-93A0-02E7312913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E752243-2173-4BDF-A7F6-8B9C49EF50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883D0BF-9DF4-4B5E-A2E7-F46F86B362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210179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09028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A980ED73-D0CF-414A-A1F9-8427BEB8A7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510858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F4A9367-DEAE-4688-BA6D-08E06C2704A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680D270-83C8-443E-A259-094102D41FA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5ADC2285-EA7A-4214-A0ED-280271D974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4918EEF-20F9-4FD5-89B7-EB442C80AB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0CC05-0608-467D-99E5-BAC44556D0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8980C63-5744-43EC-BC66-3E6FF8FF05F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C35FAC6-CC1A-4627-B010-9C4B25A493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053613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826167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FCB8539-410B-426A-AD08-DC92FA7855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63442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B904184-7823-48A5-A464-93554E69856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005F527-0A83-4EB7-AF70-1594A6AC24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11DDF8F-D694-4CA7-9D2E-C7EA60EA54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48C6620-7701-4A99-8CBE-774B053270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6B541-26C3-4737-877B-A3819A3FF4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DFD98C1-AF7E-4341-B365-DE8D030076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C4A53A-5056-4534-9884-C39C54E8AC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91362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3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399590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60BDAEB9-B831-40D8-B4EB-7913291FE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43774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30F2DF8-18AF-49BC-AC74-A8FC76346E4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35C3272-85D2-4EC2-89EB-733F55977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4E0FDD1-31AD-40BA-8E67-BCD0D5C365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84DC41CF-5E71-43FC-9D3D-A58DBA0DF6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0708D638-27B0-432E-8A59-EF337D187D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36B61FB-850F-4C7E-A896-382761FA4A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07714B-FE9A-4876-98A9-7F690EE5C9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390412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58287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90BE68BF-950F-4EB9-BDBC-FE602DD013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905951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0129F32-1660-429E-9A71-8A3090A059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2BEE53-D12A-4993-8599-588A3096B8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FFE8E3A-6CAC-4A6E-835B-21CBD92457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BF4AB1-C458-4A48-9866-76DD17E726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E355FEC5-719F-4F6F-8FC0-A36439B36E1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8916203-CBC7-4DCE-9538-423D95599B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615E9D2-E52A-44A9-99D8-0B9C59E8D1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9550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3" name="Skupina 42">
            <a:extLst>
              <a:ext uri="{FF2B5EF4-FFF2-40B4-BE49-F238E27FC236}">
                <a16:creationId xmlns:a16="http://schemas.microsoft.com/office/drawing/2014/main" id="{1C4D77A2-5018-4848-B7FD-E07C50210D0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4" name="Straight Connector 33">
              <a:extLst>
                <a:ext uri="{FF2B5EF4-FFF2-40B4-BE49-F238E27FC236}">
                  <a16:creationId xmlns:a16="http://schemas.microsoft.com/office/drawing/2014/main" id="{A8A41E5F-1E1A-407F-A6AF-6E07825C2D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34">
              <a:extLst>
                <a:ext uri="{FF2B5EF4-FFF2-40B4-BE49-F238E27FC236}">
                  <a16:creationId xmlns:a16="http://schemas.microsoft.com/office/drawing/2014/main" id="{CC89AC25-83EC-4ACB-8242-54A6ACFF088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687646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111DE0F6-C2CB-47B6-8302-F23201EB0D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387121"/>
              </p:ext>
            </p:extLst>
          </p:nvPr>
        </p:nvGraphicFramePr>
        <p:xfrm>
          <a:off x="6914932" y="1094367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9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E07B234-F56C-4597-87F9-2092D5C07B2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F0A3807-926A-4DBA-982E-5AA026708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467421-6F54-4004-B50D-E70DF47DED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304C248-DB10-467C-9CEB-9D8189CEF0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5F6A4F45-C9A6-47FD-B841-AA08233793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D0D00BB-EBC2-49A9-9D20-2C897F27F4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58997C4-1D41-4E12-B91E-B55502E40B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71DD9DD-946D-47B0-A287-0E92914C20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76737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94991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E149BA6-AAC0-4DED-A9D8-1DD4D70449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53092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3B434E5-CB0B-4385-B728-42DB6B1FE07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1F98D-D0F9-4F06-80E4-4A98280EA3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7E08B26-F27B-43CB-B292-18F58D47DB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ED84CC3-3556-4304-A01F-38DED7C0AD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127FD67D-4273-47EB-9480-E8B41E7AF4B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B4543A8-667B-42D9-AA7A-755F7E37095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EACF2BA-A36B-46AD-9D2D-27616AB3B6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205323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3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44464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D7E5654-1C4B-4C64-B225-30332EFE17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701462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B4BA85F-4BCB-440D-AFCD-32556394872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1078D7A-68FE-4A86-B42F-46B10CD17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308F12A-8EAC-4C23-A48C-E8B76A3EE3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6EF961-C35F-4B60-929B-BDBCCA155D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84E6DB3-BA98-42A6-BD89-2CE41F7BC3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AE509EB-D056-49D2-9E7A-809B5A10CD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9347D1B-1F2B-4D97-869B-32DA85A3FB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74800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3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3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305902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CEB1E8D-1563-4D2E-97BA-9403B3C6E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84351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0450588-49A5-4DCF-81DA-3517AA3025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A5E09B1-1FA8-4B72-B228-91A78737DA3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AE00063-5509-493A-A99C-9A5777C0D6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7A30714F-B86F-454A-9EA2-EA13C279E9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5AFE47CC-A404-48C1-B926-220D231528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395608-2C65-4D8D-AACD-1927176273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B2763B4-BCAA-45E5-97E5-A632D87954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3146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AB9C83A7-18A8-4C47-9DF4-3F85E6BD71C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12E154B7-68D1-4B37-AB05-1A64930BB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8BE9CD33-426A-419B-9DBC-B6A1F30F45F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2335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2B0ECCB4-E718-464F-9A4B-D03977EA9D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563464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9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FCDEFEF-BCA4-4439-B8F5-396EF6EDB1C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40B1E9-5910-45C6-988C-99C9996885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B041D08-3C42-4D4E-9C40-C8584A844F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BF88954C-71EA-44B3-A6BA-41817F50E0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1BABFA9-F90F-4796-9BDE-8EC55A542EB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91EB62-A8A2-4B8F-93FE-005435C57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F68A16E-6187-4BEB-8194-44E472960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6FE545-B734-44C3-A526-3CEB3B59F6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93707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A423DB1A-7F1E-4A3C-BCDA-5A50A49CF77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D88CBD4D-2D1C-48BD-8608-922B3FF65A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0220B212-000B-4C8C-823F-8AE113412E3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25340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B47A3B61-6095-4517-B1B5-04407EB8CD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93124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9EFC851-1892-46D9-AFB8-42BDB6DDD0E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2547927F-69C1-4CAD-920E-217F66DF9B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563A17-A3A0-44AF-9B9D-8E327C9524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FFE9BCC-ECED-49C7-8E7C-B1F5489C2A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54ECED6-5522-4291-AF2F-3668A6F0A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4D73721-2619-4159-B8AE-DB8E22E29EF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C5E5961-061C-4E52-9CA9-A19557B1FD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FE9B119-4165-44C1-A917-A447A34AB5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16081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72524E97-2072-4D20-8DE9-4DA13DF5EC8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2EAA9F67-7A89-4EB6-BAB7-0D765AF3BA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F06D627E-E8E6-47AB-BBE3-088B1C2718A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77332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A1AD867A-1F86-4584-BD53-149EE0F9AE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478860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4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9E72C4-9710-4C9F-BA9F-1726BC85154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8149D05-D566-466A-A738-73B66FE171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9CF783-E5B6-45EF-9FB2-BD4CC15EA5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5C456E6-AE90-4789-9C3B-E518C1E29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1F50ECE-E6E6-4228-9F6F-E119680D2D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8A1A4DC-00BB-4929-91D1-6047992C69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B8E1381-0BA0-4301-BD89-6C4B3B32B14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D2B8D86-61C4-451A-ADB5-43FEFFCA9D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3023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908DD614-CF20-490A-93BC-CE6A1F6262C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1AF51ADE-8C53-45D8-9159-FC3C6CEC36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2336A411-D760-4215-8FD7-2480B7DE375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16793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3F0B084B-7888-4C02-BE4F-CDE95D11FA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40044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BFB6FD-4FEF-4C4E-9C8A-488CCA1A655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CC2A22B-6E1C-43D0-A0A9-743B496BE0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BF5E867-2862-479B-B922-0C5C3EE489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A2BBC4E-44B2-46F1-B296-C2272A7985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2F177D7-D061-42FD-8798-DE488DDDBB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168F5321-115A-4834-9465-815813EF0A1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DFCC5FD-C520-4124-AD45-6B8483B50A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371BEC9-CD8D-43C5-A5CF-5A7ADB3710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665580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B62155FB-2903-4CF9-BE0E-025258C039E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0A5EE2E5-D78E-477B-BFD6-1062A6232C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EB96722E-03AF-4E00-BAE3-7B5F2D3F531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79201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01422A62-AEB2-4F5E-A5CC-33919592CA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82348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4D9B82-DC28-45B4-B7BC-A27D2EABB25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4569F5E-2370-4036-AF7A-906826E550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3D3F36B-305B-4154-B0B4-EFF2FCED59C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4D2009D-3D33-451B-83AF-6E568C366D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4B5174A-9126-48A9-B1A8-A4AA0D4468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D753507-2E30-4B24-A9C7-C7639FAA289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48EC386-EA34-4B48-8A53-D512DBB625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4CC3B83-4353-4251-A55C-AF2A0BA213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58418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852ECD31-5312-4C69-945B-C7C61F91D0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E8C6DA2F-50ED-4C35-AB6B-F8CF3F9963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6446F803-3034-4DD7-AF35-AEF19C445C9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38299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F96CBAB2-5196-443D-AFBA-4554621C48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20822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C86EB69-BD6F-4D96-AF8E-755C924D2A9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4DC8DB-FBFE-4211-9D3E-03294E0FCD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69AB731-547D-4D24-9572-A13AAA1510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CC1780F-225C-46E9-9878-3D4CF79C2F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7D38412-B405-44FC-AC18-F5392B10FC0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09C415D4-E464-4B2C-9505-8EDEBAA22E9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88DC1F0-D848-4F31-8F47-6138A7A4FB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C1FB7FF2-9020-4E19-8D1F-2DAABEB003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73733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5</TotalTime>
  <Words>2170</Words>
  <Application>Microsoft Office PowerPoint</Application>
  <PresentationFormat>Širokoúhlá obrazovka</PresentationFormat>
  <Paragraphs>392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Zouharová Anna Bc.</cp:lastModifiedBy>
  <cp:revision>70</cp:revision>
  <dcterms:created xsi:type="dcterms:W3CDTF">2021-03-07T17:05:03Z</dcterms:created>
  <dcterms:modified xsi:type="dcterms:W3CDTF">2021-04-24T16:19:18Z</dcterms:modified>
</cp:coreProperties>
</file>